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Lst>
  <p:notesMasterIdLst>
    <p:notesMasterId r:id="rId3"/>
  </p:notesMasterIdLst>
  <p:sldIdLst>
    <p:sldId id="256" r:id="rId2"/>
  </p:sldIdLst>
  <p:sldSz cx="50399950" cy="28800425"/>
  <p:notesSz cx="10234613" cy="7099300"/>
  <p:custDataLst>
    <p:tags r:id="rId4"/>
  </p:custDataLst>
  <p:defaultTextStyle>
    <a:defPPr>
      <a:defRPr lang="en-US"/>
    </a:defPPr>
    <a:lvl1pPr marL="0" algn="l" defTabSz="1622209" rtl="0" eaLnBrk="1" latinLnBrk="0" hangingPunct="1">
      <a:defRPr sz="6435" kern="1200">
        <a:solidFill>
          <a:schemeClr val="tx1"/>
        </a:solidFill>
        <a:latin typeface="+mn-lt"/>
        <a:ea typeface="+mn-ea"/>
        <a:cs typeface="+mn-cs"/>
      </a:defRPr>
    </a:lvl1pPr>
    <a:lvl2pPr marL="1622209" algn="l" defTabSz="1622209" rtl="0" eaLnBrk="1" latinLnBrk="0" hangingPunct="1">
      <a:defRPr sz="6435" kern="1200">
        <a:solidFill>
          <a:schemeClr val="tx1"/>
        </a:solidFill>
        <a:latin typeface="+mn-lt"/>
        <a:ea typeface="+mn-ea"/>
        <a:cs typeface="+mn-cs"/>
      </a:defRPr>
    </a:lvl2pPr>
    <a:lvl3pPr marL="3244411" algn="l" defTabSz="1622209" rtl="0" eaLnBrk="1" latinLnBrk="0" hangingPunct="1">
      <a:defRPr sz="6435" kern="1200">
        <a:solidFill>
          <a:schemeClr val="tx1"/>
        </a:solidFill>
        <a:latin typeface="+mn-lt"/>
        <a:ea typeface="+mn-ea"/>
        <a:cs typeface="+mn-cs"/>
      </a:defRPr>
    </a:lvl3pPr>
    <a:lvl4pPr marL="4866618" algn="l" defTabSz="1622209" rtl="0" eaLnBrk="1" latinLnBrk="0" hangingPunct="1">
      <a:defRPr sz="6435" kern="1200">
        <a:solidFill>
          <a:schemeClr val="tx1"/>
        </a:solidFill>
        <a:latin typeface="+mn-lt"/>
        <a:ea typeface="+mn-ea"/>
        <a:cs typeface="+mn-cs"/>
      </a:defRPr>
    </a:lvl4pPr>
    <a:lvl5pPr marL="6488825" algn="l" defTabSz="1622209" rtl="0" eaLnBrk="1" latinLnBrk="0" hangingPunct="1">
      <a:defRPr sz="6435" kern="1200">
        <a:solidFill>
          <a:schemeClr val="tx1"/>
        </a:solidFill>
        <a:latin typeface="+mn-lt"/>
        <a:ea typeface="+mn-ea"/>
        <a:cs typeface="+mn-cs"/>
      </a:defRPr>
    </a:lvl5pPr>
    <a:lvl6pPr marL="8111030" algn="l" defTabSz="1622209" rtl="0" eaLnBrk="1" latinLnBrk="0" hangingPunct="1">
      <a:defRPr sz="6435" kern="1200">
        <a:solidFill>
          <a:schemeClr val="tx1"/>
        </a:solidFill>
        <a:latin typeface="+mn-lt"/>
        <a:ea typeface="+mn-ea"/>
        <a:cs typeface="+mn-cs"/>
      </a:defRPr>
    </a:lvl6pPr>
    <a:lvl7pPr marL="9733238" algn="l" defTabSz="1622209" rtl="0" eaLnBrk="1" latinLnBrk="0" hangingPunct="1">
      <a:defRPr sz="6435" kern="1200">
        <a:solidFill>
          <a:schemeClr val="tx1"/>
        </a:solidFill>
        <a:latin typeface="+mn-lt"/>
        <a:ea typeface="+mn-ea"/>
        <a:cs typeface="+mn-cs"/>
      </a:defRPr>
    </a:lvl7pPr>
    <a:lvl8pPr marL="11355443" algn="l" defTabSz="1622209" rtl="0" eaLnBrk="1" latinLnBrk="0" hangingPunct="1">
      <a:defRPr sz="6435" kern="1200">
        <a:solidFill>
          <a:schemeClr val="tx1"/>
        </a:solidFill>
        <a:latin typeface="+mn-lt"/>
        <a:ea typeface="+mn-ea"/>
        <a:cs typeface="+mn-cs"/>
      </a:defRPr>
    </a:lvl8pPr>
    <a:lvl9pPr marL="12977648" algn="l" defTabSz="1622209" rtl="0" eaLnBrk="1" latinLnBrk="0" hangingPunct="1">
      <a:defRPr sz="6435"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071" userDrawn="1">
          <p15:clr>
            <a:srgbClr val="A4A3A4"/>
          </p15:clr>
        </p15:guide>
        <p15:guide id="2" pos="15874"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F86EAF0-B2B4-FB75-4B9B-70F66B8EFFC6}" name="Caroline Ummenhofer" initials="CU" userId="ac8013a91f98c281" providerId="Windows Live"/>
</p188:authorLst>
</file>

<file path=ppt/presProps.xml><?xml version="1.0" encoding="utf-8"?>
<p:presentationPr xmlns:a="http://schemas.openxmlformats.org/drawingml/2006/main" xmlns:r="http://schemas.openxmlformats.org/officeDocument/2006/relationships" xmlns:p="http://schemas.openxmlformats.org/presentationml/2006/main">
  <p:prnPr/>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EB4E3"/>
    <a:srgbClr val="0000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A651078-8392-4365-8DD2-D1307F89C0DC}" v="73" dt="2023-04-18T17:34:15.333"/>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8216" autoAdjust="0"/>
    <p:restoredTop sz="94073" autoAdjust="0"/>
  </p:normalViewPr>
  <p:slideViewPr>
    <p:cSldViewPr snapToGrid="0" snapToObjects="1">
      <p:cViewPr>
        <p:scale>
          <a:sx n="33" d="100"/>
          <a:sy n="33" d="100"/>
        </p:scale>
        <p:origin x="96" y="-1188"/>
      </p:cViewPr>
      <p:guideLst>
        <p:guide orient="horz" pos="9071"/>
        <p:guide pos="15874"/>
      </p:guideLst>
    </p:cSldViewPr>
  </p:slid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tableStyles" Target="tableStyles.xml"/><Relationship Id="rId3" Type="http://schemas.openxmlformats.org/officeDocument/2006/relationships/notesMaster" Target="notesMasters/notesMaster1.xml"/><Relationship Id="rId7" Type="http://schemas.openxmlformats.org/officeDocument/2006/relationships/theme" Target="theme/theme1.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viewProps" Target="viewProps.xml"/><Relationship Id="rId11" Type="http://schemas.microsoft.com/office/2018/10/relationships/authors" Target="authors.xml"/><Relationship Id="rId5" Type="http://schemas.openxmlformats.org/officeDocument/2006/relationships/presProps" Target="presProps.xml"/><Relationship Id="rId10" Type="http://schemas.microsoft.com/office/2015/10/relationships/revisionInfo" Target="revisionInfo.xml"/><Relationship Id="rId4" Type="http://schemas.openxmlformats.org/officeDocument/2006/relationships/tags" Target="tags/tag1.xml"/><Relationship Id="rId9"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Neele Sander" userId="5e9a16695afe287b" providerId="LiveId" clId="{0A651078-8392-4365-8DD2-D1307F89C0DC}"/>
    <pc:docChg chg="undo custSel modSld modMainMaster modNotesMaster">
      <pc:chgData name="Neele Sander" userId="5e9a16695afe287b" providerId="LiveId" clId="{0A651078-8392-4365-8DD2-D1307F89C0DC}" dt="2023-04-18T17:42:34.374" v="1224" actId="14100"/>
      <pc:docMkLst>
        <pc:docMk/>
      </pc:docMkLst>
      <pc:sldChg chg="addSp delSp modSp mod modNotes">
        <pc:chgData name="Neele Sander" userId="5e9a16695afe287b" providerId="LiveId" clId="{0A651078-8392-4365-8DD2-D1307F89C0DC}" dt="2023-04-18T17:42:34.374" v="1224" actId="14100"/>
        <pc:sldMkLst>
          <pc:docMk/>
          <pc:sldMk cId="3493041980" sldId="256"/>
        </pc:sldMkLst>
        <pc:spChg chg="mod">
          <ac:chgData name="Neele Sander" userId="5e9a16695afe287b" providerId="LiveId" clId="{0A651078-8392-4365-8DD2-D1307F89C0DC}" dt="2023-04-18T16:16:46.536" v="780" actId="1076"/>
          <ac:spMkLst>
            <pc:docMk/>
            <pc:sldMk cId="3493041980" sldId="256"/>
            <ac:spMk id="3" creationId="{B65EF166-3775-86CB-9851-50AA4D8ACECE}"/>
          </ac:spMkLst>
        </pc:spChg>
        <pc:spChg chg="mod">
          <ac:chgData name="Neele Sander" userId="5e9a16695afe287b" providerId="LiveId" clId="{0A651078-8392-4365-8DD2-D1307F89C0DC}" dt="2023-04-18T16:20:16.265" v="883" actId="1038"/>
          <ac:spMkLst>
            <pc:docMk/>
            <pc:sldMk cId="3493041980" sldId="256"/>
            <ac:spMk id="4" creationId="{00000000-0000-0000-0000-000000000000}"/>
          </ac:spMkLst>
        </pc:spChg>
        <pc:spChg chg="add mod">
          <ac:chgData name="Neele Sander" userId="5e9a16695afe287b" providerId="LiveId" clId="{0A651078-8392-4365-8DD2-D1307F89C0DC}" dt="2023-04-18T17:37:02.389" v="1217" actId="1076"/>
          <ac:spMkLst>
            <pc:docMk/>
            <pc:sldMk cId="3493041980" sldId="256"/>
            <ac:spMk id="5" creationId="{C15ED4B9-4F42-EFCC-8200-13289E2B7F8F}"/>
          </ac:spMkLst>
        </pc:spChg>
        <pc:spChg chg="mod">
          <ac:chgData name="Neele Sander" userId="5e9a16695afe287b" providerId="LiveId" clId="{0A651078-8392-4365-8DD2-D1307F89C0DC}" dt="2023-04-18T16:02:13.129" v="13"/>
          <ac:spMkLst>
            <pc:docMk/>
            <pc:sldMk cId="3493041980" sldId="256"/>
            <ac:spMk id="10" creationId="{C7B3D945-84A6-AAEB-A523-51251BD0EEA3}"/>
          </ac:spMkLst>
        </pc:spChg>
        <pc:spChg chg="mod">
          <ac:chgData name="Neele Sander" userId="5e9a16695afe287b" providerId="LiveId" clId="{0A651078-8392-4365-8DD2-D1307F89C0DC}" dt="2023-04-18T16:02:13.129" v="13"/>
          <ac:spMkLst>
            <pc:docMk/>
            <pc:sldMk cId="3493041980" sldId="256"/>
            <ac:spMk id="21" creationId="{CAF555E3-BF32-EECA-C3ED-2D208E1A7834}"/>
          </ac:spMkLst>
        </pc:spChg>
        <pc:spChg chg="mod">
          <ac:chgData name="Neele Sander" userId="5e9a16695afe287b" providerId="LiveId" clId="{0A651078-8392-4365-8DD2-D1307F89C0DC}" dt="2023-04-18T16:07:28.776" v="282" actId="14100"/>
          <ac:spMkLst>
            <pc:docMk/>
            <pc:sldMk cId="3493041980" sldId="256"/>
            <ac:spMk id="22" creationId="{BCA355E1-61AB-06BD-1E54-623C06D83B58}"/>
          </ac:spMkLst>
        </pc:spChg>
        <pc:spChg chg="mod">
          <ac:chgData name="Neele Sander" userId="5e9a16695afe287b" providerId="LiveId" clId="{0A651078-8392-4365-8DD2-D1307F89C0DC}" dt="2023-04-18T16:02:13.129" v="13"/>
          <ac:spMkLst>
            <pc:docMk/>
            <pc:sldMk cId="3493041980" sldId="256"/>
            <ac:spMk id="25" creationId="{3123E519-A3CE-1BE8-53F2-5E1161EA8A0C}"/>
          </ac:spMkLst>
        </pc:spChg>
        <pc:spChg chg="mod">
          <ac:chgData name="Neele Sander" userId="5e9a16695afe287b" providerId="LiveId" clId="{0A651078-8392-4365-8DD2-D1307F89C0DC}" dt="2023-04-18T16:19:16.842" v="840" actId="1038"/>
          <ac:spMkLst>
            <pc:docMk/>
            <pc:sldMk cId="3493041980" sldId="256"/>
            <ac:spMk id="26" creationId="{00000000-0000-0000-0000-000000000000}"/>
          </ac:spMkLst>
        </pc:spChg>
        <pc:spChg chg="mod">
          <ac:chgData name="Neele Sander" userId="5e9a16695afe287b" providerId="LiveId" clId="{0A651078-8392-4365-8DD2-D1307F89C0DC}" dt="2023-04-18T16:02:13.129" v="13"/>
          <ac:spMkLst>
            <pc:docMk/>
            <pc:sldMk cId="3493041980" sldId="256"/>
            <ac:spMk id="27" creationId="{96D1361D-60E1-CFBD-3536-9946E917291C}"/>
          </ac:spMkLst>
        </pc:spChg>
        <pc:spChg chg="mod">
          <ac:chgData name="Neele Sander" userId="5e9a16695afe287b" providerId="LiveId" clId="{0A651078-8392-4365-8DD2-D1307F89C0DC}" dt="2023-04-18T17:37:34.892" v="1220" actId="1036"/>
          <ac:spMkLst>
            <pc:docMk/>
            <pc:sldMk cId="3493041980" sldId="256"/>
            <ac:spMk id="30" creationId="{C1821D35-F3A6-97C0-0528-A6870338A454}"/>
          </ac:spMkLst>
        </pc:spChg>
        <pc:spChg chg="mod">
          <ac:chgData name="Neele Sander" userId="5e9a16695afe287b" providerId="LiveId" clId="{0A651078-8392-4365-8DD2-D1307F89C0DC}" dt="2023-04-18T17:36:28.803" v="1213" actId="1035"/>
          <ac:spMkLst>
            <pc:docMk/>
            <pc:sldMk cId="3493041980" sldId="256"/>
            <ac:spMk id="31" creationId="{EF1C5CF1-BE1E-C144-8404-8495D9D38BA5}"/>
          </ac:spMkLst>
        </pc:spChg>
        <pc:spChg chg="mod">
          <ac:chgData name="Neele Sander" userId="5e9a16695afe287b" providerId="LiveId" clId="{0A651078-8392-4365-8DD2-D1307F89C0DC}" dt="2023-04-18T17:36:28.803" v="1213" actId="1035"/>
          <ac:spMkLst>
            <pc:docMk/>
            <pc:sldMk cId="3493041980" sldId="256"/>
            <ac:spMk id="32" creationId="{99501E4B-79B5-0907-78E0-6E05A2828639}"/>
          </ac:spMkLst>
        </pc:spChg>
        <pc:spChg chg="mod">
          <ac:chgData name="Neele Sander" userId="5e9a16695afe287b" providerId="LiveId" clId="{0A651078-8392-4365-8DD2-D1307F89C0DC}" dt="2023-04-18T17:36:28.803" v="1213" actId="1035"/>
          <ac:spMkLst>
            <pc:docMk/>
            <pc:sldMk cId="3493041980" sldId="256"/>
            <ac:spMk id="33" creationId="{0D47506B-3583-BC0E-838F-50779A8F47A4}"/>
          </ac:spMkLst>
        </pc:spChg>
        <pc:spChg chg="mod">
          <ac:chgData name="Neele Sander" userId="5e9a16695afe287b" providerId="LiveId" clId="{0A651078-8392-4365-8DD2-D1307F89C0DC}" dt="2023-04-18T17:36:28.803" v="1213" actId="1035"/>
          <ac:spMkLst>
            <pc:docMk/>
            <pc:sldMk cId="3493041980" sldId="256"/>
            <ac:spMk id="37" creationId="{91113BB5-B203-2D5F-A9B7-8E94861F6FBE}"/>
          </ac:spMkLst>
        </pc:spChg>
        <pc:spChg chg="mod">
          <ac:chgData name="Neele Sander" userId="5e9a16695afe287b" providerId="LiveId" clId="{0A651078-8392-4365-8DD2-D1307F89C0DC}" dt="2023-04-18T16:07:07.201" v="231" actId="14100"/>
          <ac:spMkLst>
            <pc:docMk/>
            <pc:sldMk cId="3493041980" sldId="256"/>
            <ac:spMk id="43" creationId="{6A4DE8DC-74A1-98D6-B154-A57185396862}"/>
          </ac:spMkLst>
        </pc:spChg>
        <pc:spChg chg="mod">
          <ac:chgData name="Neele Sander" userId="5e9a16695afe287b" providerId="LiveId" clId="{0A651078-8392-4365-8DD2-D1307F89C0DC}" dt="2023-04-18T16:02:13.129" v="13"/>
          <ac:spMkLst>
            <pc:docMk/>
            <pc:sldMk cId="3493041980" sldId="256"/>
            <ac:spMk id="56" creationId="{DBDCFF8F-3224-E899-97E8-F2AD9358AAE9}"/>
          </ac:spMkLst>
        </pc:spChg>
        <pc:spChg chg="mod">
          <ac:chgData name="Neele Sander" userId="5e9a16695afe287b" providerId="LiveId" clId="{0A651078-8392-4365-8DD2-D1307F89C0DC}" dt="2023-04-18T16:02:13.129" v="13"/>
          <ac:spMkLst>
            <pc:docMk/>
            <pc:sldMk cId="3493041980" sldId="256"/>
            <ac:spMk id="61" creationId="{A0FFE13B-B85F-942B-5B36-D660271D36B5}"/>
          </ac:spMkLst>
        </pc:spChg>
        <pc:spChg chg="del mod">
          <ac:chgData name="Neele Sander" userId="5e9a16695afe287b" providerId="LiveId" clId="{0A651078-8392-4365-8DD2-D1307F89C0DC}" dt="2023-04-18T17:36:55.371" v="1216" actId="21"/>
          <ac:spMkLst>
            <pc:docMk/>
            <pc:sldMk cId="3493041980" sldId="256"/>
            <ac:spMk id="62" creationId="{0CCD3122-09A7-48BB-DD34-9A0DDE02D9BD}"/>
          </ac:spMkLst>
        </pc:spChg>
        <pc:spChg chg="mod">
          <ac:chgData name="Neele Sander" userId="5e9a16695afe287b" providerId="LiveId" clId="{0A651078-8392-4365-8DD2-D1307F89C0DC}" dt="2023-04-18T16:02:13.129" v="13"/>
          <ac:spMkLst>
            <pc:docMk/>
            <pc:sldMk cId="3493041980" sldId="256"/>
            <ac:spMk id="64" creationId="{09A99014-D4F0-F578-9A13-2EEC3D34B6F3}"/>
          </ac:spMkLst>
        </pc:spChg>
        <pc:spChg chg="mod">
          <ac:chgData name="Neele Sander" userId="5e9a16695afe287b" providerId="LiveId" clId="{0A651078-8392-4365-8DD2-D1307F89C0DC}" dt="2023-04-18T16:02:13.129" v="13"/>
          <ac:spMkLst>
            <pc:docMk/>
            <pc:sldMk cId="3493041980" sldId="256"/>
            <ac:spMk id="65" creationId="{13323F5C-7380-D900-BDA4-C6F761DDFD7A}"/>
          </ac:spMkLst>
        </pc:spChg>
        <pc:spChg chg="mod">
          <ac:chgData name="Neele Sander" userId="5e9a16695afe287b" providerId="LiveId" clId="{0A651078-8392-4365-8DD2-D1307F89C0DC}" dt="2023-04-18T16:08:49.537" v="354" actId="14100"/>
          <ac:spMkLst>
            <pc:docMk/>
            <pc:sldMk cId="3493041980" sldId="256"/>
            <ac:spMk id="66" creationId="{59DADFF6-1BCA-3233-A612-60AF6B046701}"/>
          </ac:spMkLst>
        </pc:spChg>
        <pc:spChg chg="mod">
          <ac:chgData name="Neele Sander" userId="5e9a16695afe287b" providerId="LiveId" clId="{0A651078-8392-4365-8DD2-D1307F89C0DC}" dt="2023-04-18T16:02:13.129" v="13"/>
          <ac:spMkLst>
            <pc:docMk/>
            <pc:sldMk cId="3493041980" sldId="256"/>
            <ac:spMk id="68" creationId="{1EA138D0-5D69-FDB4-2A93-776A407B8C1F}"/>
          </ac:spMkLst>
        </pc:spChg>
        <pc:spChg chg="mod">
          <ac:chgData name="Neele Sander" userId="5e9a16695afe287b" providerId="LiveId" clId="{0A651078-8392-4365-8DD2-D1307F89C0DC}" dt="2023-04-18T16:02:13.129" v="13"/>
          <ac:spMkLst>
            <pc:docMk/>
            <pc:sldMk cId="3493041980" sldId="256"/>
            <ac:spMk id="69" creationId="{E3562EF4-0C0D-3866-F82D-7623310766BD}"/>
          </ac:spMkLst>
        </pc:spChg>
        <pc:spChg chg="mod">
          <ac:chgData name="Neele Sander" userId="5e9a16695afe287b" providerId="LiveId" clId="{0A651078-8392-4365-8DD2-D1307F89C0DC}" dt="2023-04-18T16:02:13.129" v="13"/>
          <ac:spMkLst>
            <pc:docMk/>
            <pc:sldMk cId="3493041980" sldId="256"/>
            <ac:spMk id="72" creationId="{DEA85B24-FC3A-5132-81DA-9796E44C3746}"/>
          </ac:spMkLst>
        </pc:spChg>
        <pc:spChg chg="mod">
          <ac:chgData name="Neele Sander" userId="5e9a16695afe287b" providerId="LiveId" clId="{0A651078-8392-4365-8DD2-D1307F89C0DC}" dt="2023-04-18T16:13:53.032" v="655" actId="164"/>
          <ac:spMkLst>
            <pc:docMk/>
            <pc:sldMk cId="3493041980" sldId="256"/>
            <ac:spMk id="75" creationId="{C9A61820-17F3-8D74-8055-EA669DDAEA46}"/>
          </ac:spMkLst>
        </pc:spChg>
        <pc:spChg chg="mod">
          <ac:chgData name="Neele Sander" userId="5e9a16695afe287b" providerId="LiveId" clId="{0A651078-8392-4365-8DD2-D1307F89C0DC}" dt="2023-04-18T16:02:13.129" v="13"/>
          <ac:spMkLst>
            <pc:docMk/>
            <pc:sldMk cId="3493041980" sldId="256"/>
            <ac:spMk id="81" creationId="{00000000-0000-0000-0000-000000000000}"/>
          </ac:spMkLst>
        </pc:spChg>
        <pc:spChg chg="mod">
          <ac:chgData name="Neele Sander" userId="5e9a16695afe287b" providerId="LiveId" clId="{0A651078-8392-4365-8DD2-D1307F89C0DC}" dt="2023-04-18T16:21:08.416" v="907" actId="1036"/>
          <ac:spMkLst>
            <pc:docMk/>
            <pc:sldMk cId="3493041980" sldId="256"/>
            <ac:spMk id="87" creationId="{4E4CF04D-242B-884A-90E8-1247A5BD4951}"/>
          </ac:spMkLst>
        </pc:spChg>
        <pc:spChg chg="mod">
          <ac:chgData name="Neele Sander" userId="5e9a16695afe287b" providerId="LiveId" clId="{0A651078-8392-4365-8DD2-D1307F89C0DC}" dt="2023-04-18T16:21:16.139" v="908" actId="1076"/>
          <ac:spMkLst>
            <pc:docMk/>
            <pc:sldMk cId="3493041980" sldId="256"/>
            <ac:spMk id="88" creationId="{4FF7241D-0111-FD5A-5945-E52932717C35}"/>
          </ac:spMkLst>
        </pc:spChg>
        <pc:spChg chg="mod">
          <ac:chgData name="Neele Sander" userId="5e9a16695afe287b" providerId="LiveId" clId="{0A651078-8392-4365-8DD2-D1307F89C0DC}" dt="2023-04-18T17:24:10.863" v="915" actId="1036"/>
          <ac:spMkLst>
            <pc:docMk/>
            <pc:sldMk cId="3493041980" sldId="256"/>
            <ac:spMk id="91" creationId="{FACB0B84-8F5B-E5CC-1301-3EF43C315531}"/>
          </ac:spMkLst>
        </pc:spChg>
        <pc:spChg chg="mod">
          <ac:chgData name="Neele Sander" userId="5e9a16695afe287b" providerId="LiveId" clId="{0A651078-8392-4365-8DD2-D1307F89C0DC}" dt="2023-04-18T16:13:53.032" v="655" actId="164"/>
          <ac:spMkLst>
            <pc:docMk/>
            <pc:sldMk cId="3493041980" sldId="256"/>
            <ac:spMk id="100" creationId="{9732B630-9DB8-8BC3-9BEA-170E29A117B3}"/>
          </ac:spMkLst>
        </pc:spChg>
        <pc:spChg chg="mod">
          <ac:chgData name="Neele Sander" userId="5e9a16695afe287b" providerId="LiveId" clId="{0A651078-8392-4365-8DD2-D1307F89C0DC}" dt="2023-04-18T16:13:53.032" v="655" actId="164"/>
          <ac:spMkLst>
            <pc:docMk/>
            <pc:sldMk cId="3493041980" sldId="256"/>
            <ac:spMk id="101" creationId="{13AAE7C4-7626-8DF2-0A8E-44DC08932ADE}"/>
          </ac:spMkLst>
        </pc:spChg>
        <pc:grpChg chg="add mod">
          <ac:chgData name="Neele Sander" userId="5e9a16695afe287b" providerId="LiveId" clId="{0A651078-8392-4365-8DD2-D1307F89C0DC}" dt="2023-04-18T17:34:15.330" v="1081" actId="164"/>
          <ac:grpSpMkLst>
            <pc:docMk/>
            <pc:sldMk cId="3493041980" sldId="256"/>
            <ac:grpSpMk id="11" creationId="{3083DFB4-9478-B7F6-5E59-C51622F33EA7}"/>
          </ac:grpSpMkLst>
        </pc:grpChg>
        <pc:grpChg chg="add mod">
          <ac:chgData name="Neele Sander" userId="5e9a16695afe287b" providerId="LiveId" clId="{0A651078-8392-4365-8DD2-D1307F89C0DC}" dt="2023-04-18T16:21:23.853" v="909" actId="1076"/>
          <ac:grpSpMkLst>
            <pc:docMk/>
            <pc:sldMk cId="3493041980" sldId="256"/>
            <ac:grpSpMk id="17" creationId="{D702BE02-E4B1-85F9-B527-AFE301F0BD74}"/>
          </ac:grpSpMkLst>
        </pc:grpChg>
        <pc:grpChg chg="mod">
          <ac:chgData name="Neele Sander" userId="5e9a16695afe287b" providerId="LiveId" clId="{0A651078-8392-4365-8DD2-D1307F89C0DC}" dt="2023-04-18T16:07:37.453" v="283" actId="1076"/>
          <ac:grpSpMkLst>
            <pc:docMk/>
            <pc:sldMk cId="3493041980" sldId="256"/>
            <ac:grpSpMk id="28" creationId="{0F662F7B-6690-124F-B1D5-B72EA06C7B98}"/>
          </ac:grpSpMkLst>
        </pc:grpChg>
        <pc:grpChg chg="mod">
          <ac:chgData name="Neele Sander" userId="5e9a16695afe287b" providerId="LiveId" clId="{0A651078-8392-4365-8DD2-D1307F89C0DC}" dt="2023-04-18T16:02:13.129" v="13"/>
          <ac:grpSpMkLst>
            <pc:docMk/>
            <pc:sldMk cId="3493041980" sldId="256"/>
            <ac:grpSpMk id="49" creationId="{FFB7720C-3997-9E27-16CB-3FC2FAAC1E5C}"/>
          </ac:grpSpMkLst>
        </pc:grpChg>
        <pc:grpChg chg="mod">
          <ac:chgData name="Neele Sander" userId="5e9a16695afe287b" providerId="LiveId" clId="{0A651078-8392-4365-8DD2-D1307F89C0DC}" dt="2023-04-18T17:34:15.330" v="1081" actId="164"/>
          <ac:grpSpMkLst>
            <pc:docMk/>
            <pc:sldMk cId="3493041980" sldId="256"/>
            <ac:grpSpMk id="67" creationId="{27ADE6AF-5B54-1259-5615-A6F8080587BE}"/>
          </ac:grpSpMkLst>
        </pc:grpChg>
        <pc:grpChg chg="mod">
          <ac:chgData name="Neele Sander" userId="5e9a16695afe287b" providerId="LiveId" clId="{0A651078-8392-4365-8DD2-D1307F89C0DC}" dt="2023-04-18T16:22:00.597" v="911" actId="1076"/>
          <ac:grpSpMkLst>
            <pc:docMk/>
            <pc:sldMk cId="3493041980" sldId="256"/>
            <ac:grpSpMk id="74" creationId="{292A900E-AA37-E578-19A8-93984858026F}"/>
          </ac:grpSpMkLst>
        </pc:grpChg>
        <pc:graphicFrameChg chg="mod">
          <ac:chgData name="Neele Sander" userId="5e9a16695afe287b" providerId="LiveId" clId="{0A651078-8392-4365-8DD2-D1307F89C0DC}" dt="2023-04-18T16:02:13.129" v="13"/>
          <ac:graphicFrameMkLst>
            <pc:docMk/>
            <pc:sldMk cId="3493041980" sldId="256"/>
            <ac:graphicFrameMk id="9" creationId="{7C76E84C-4095-79BD-AFDD-41697F99FD9C}"/>
          </ac:graphicFrameMkLst>
        </pc:graphicFrameChg>
        <pc:picChg chg="mod">
          <ac:chgData name="Neele Sander" userId="5e9a16695afe287b" providerId="LiveId" clId="{0A651078-8392-4365-8DD2-D1307F89C0DC}" dt="2023-04-18T17:31:25.296" v="1025" actId="1076"/>
          <ac:picMkLst>
            <pc:docMk/>
            <pc:sldMk cId="3493041980" sldId="256"/>
            <ac:picMk id="2" creationId="{00000000-0000-0000-0000-000000000000}"/>
          </ac:picMkLst>
        </pc:picChg>
        <pc:picChg chg="mod">
          <ac:chgData name="Neele Sander" userId="5e9a16695afe287b" providerId="LiveId" clId="{0A651078-8392-4365-8DD2-D1307F89C0DC}" dt="2023-04-18T17:31:47.340" v="1027" actId="1076"/>
          <ac:picMkLst>
            <pc:docMk/>
            <pc:sldMk cId="3493041980" sldId="256"/>
            <ac:picMk id="6" creationId="{17F1E1DC-44BC-5A51-9856-42CC065F9F2B}"/>
          </ac:picMkLst>
        </pc:picChg>
        <pc:picChg chg="mod">
          <ac:chgData name="Neele Sander" userId="5e9a16695afe287b" providerId="LiveId" clId="{0A651078-8392-4365-8DD2-D1307F89C0DC}" dt="2023-04-18T16:02:13.129" v="13"/>
          <ac:picMkLst>
            <pc:docMk/>
            <pc:sldMk cId="3493041980" sldId="256"/>
            <ac:picMk id="7" creationId="{7AA7F44D-019E-53CD-5267-CFC1CE9DDBAE}"/>
          </ac:picMkLst>
        </pc:picChg>
        <pc:picChg chg="mod">
          <ac:chgData name="Neele Sander" userId="5e9a16695afe287b" providerId="LiveId" clId="{0A651078-8392-4365-8DD2-D1307F89C0DC}" dt="2023-04-18T17:31:30.176" v="1026" actId="1076"/>
          <ac:picMkLst>
            <pc:docMk/>
            <pc:sldMk cId="3493041980" sldId="256"/>
            <ac:picMk id="8" creationId="{429FFA49-3C46-8203-2CED-487F13A175F4}"/>
          </ac:picMkLst>
        </pc:picChg>
        <pc:picChg chg="mod">
          <ac:chgData name="Neele Sander" userId="5e9a16695afe287b" providerId="LiveId" clId="{0A651078-8392-4365-8DD2-D1307F89C0DC}" dt="2023-04-18T17:32:19.342" v="1064" actId="1076"/>
          <ac:picMkLst>
            <pc:docMk/>
            <pc:sldMk cId="3493041980" sldId="256"/>
            <ac:picMk id="16" creationId="{E5AB23B4-DB04-02B7-3B9A-BBE0C3503001}"/>
          </ac:picMkLst>
        </pc:picChg>
        <pc:picChg chg="mod">
          <ac:chgData name="Neele Sander" userId="5e9a16695afe287b" providerId="LiveId" clId="{0A651078-8392-4365-8DD2-D1307F89C0DC}" dt="2023-04-18T16:02:13.129" v="13"/>
          <ac:picMkLst>
            <pc:docMk/>
            <pc:sldMk cId="3493041980" sldId="256"/>
            <ac:picMk id="18" creationId="{F4A34CB5-708B-2206-2858-B75D43FE9718}"/>
          </ac:picMkLst>
        </pc:picChg>
        <pc:picChg chg="mod">
          <ac:chgData name="Neele Sander" userId="5e9a16695afe287b" providerId="LiveId" clId="{0A651078-8392-4365-8DD2-D1307F89C0DC}" dt="2023-04-18T16:02:13.129" v="13"/>
          <ac:picMkLst>
            <pc:docMk/>
            <pc:sldMk cId="3493041980" sldId="256"/>
            <ac:picMk id="20" creationId="{1A08A2FC-66B8-F828-DF10-52119165B842}"/>
          </ac:picMkLst>
        </pc:picChg>
        <pc:picChg chg="mod">
          <ac:chgData name="Neele Sander" userId="5e9a16695afe287b" providerId="LiveId" clId="{0A651078-8392-4365-8DD2-D1307F89C0DC}" dt="2023-04-18T17:42:22.715" v="1222" actId="14100"/>
          <ac:picMkLst>
            <pc:docMk/>
            <pc:sldMk cId="3493041980" sldId="256"/>
            <ac:picMk id="23" creationId="{00000000-0000-0000-0000-000000000000}"/>
          </ac:picMkLst>
        </pc:picChg>
        <pc:picChg chg="mod">
          <ac:chgData name="Neele Sander" userId="5e9a16695afe287b" providerId="LiveId" clId="{0A651078-8392-4365-8DD2-D1307F89C0DC}" dt="2023-04-18T17:42:34.374" v="1224" actId="14100"/>
          <ac:picMkLst>
            <pc:docMk/>
            <pc:sldMk cId="3493041980" sldId="256"/>
            <ac:picMk id="24" creationId="{00000000-0000-0000-0000-000000000000}"/>
          </ac:picMkLst>
        </pc:picChg>
        <pc:picChg chg="mod">
          <ac:chgData name="Neele Sander" userId="5e9a16695afe287b" providerId="LiveId" clId="{0A651078-8392-4365-8DD2-D1307F89C0DC}" dt="2023-04-18T16:02:13.129" v="13"/>
          <ac:picMkLst>
            <pc:docMk/>
            <pc:sldMk cId="3493041980" sldId="256"/>
            <ac:picMk id="48" creationId="{3016086A-07E0-EBB7-2F9C-634927708432}"/>
          </ac:picMkLst>
        </pc:picChg>
        <pc:picChg chg="mod">
          <ac:chgData name="Neele Sander" userId="5e9a16695afe287b" providerId="LiveId" clId="{0A651078-8392-4365-8DD2-D1307F89C0DC}" dt="2023-04-18T16:02:13.129" v="13"/>
          <ac:picMkLst>
            <pc:docMk/>
            <pc:sldMk cId="3493041980" sldId="256"/>
            <ac:picMk id="51" creationId="{FEFD556B-3A90-B584-9328-6B01CE0F6A2E}"/>
          </ac:picMkLst>
        </pc:picChg>
        <pc:picChg chg="mod">
          <ac:chgData name="Neele Sander" userId="5e9a16695afe287b" providerId="LiveId" clId="{0A651078-8392-4365-8DD2-D1307F89C0DC}" dt="2023-04-18T16:02:13.129" v="13"/>
          <ac:picMkLst>
            <pc:docMk/>
            <pc:sldMk cId="3493041980" sldId="256"/>
            <ac:picMk id="60" creationId="{B2E91223-56D8-2DDF-BD85-9991F7701B82}"/>
          </ac:picMkLst>
        </pc:picChg>
        <pc:picChg chg="mod">
          <ac:chgData name="Neele Sander" userId="5e9a16695afe287b" providerId="LiveId" clId="{0A651078-8392-4365-8DD2-D1307F89C0DC}" dt="2023-04-18T16:02:13.129" v="13"/>
          <ac:picMkLst>
            <pc:docMk/>
            <pc:sldMk cId="3493041980" sldId="256"/>
            <ac:picMk id="70" creationId="{4F471A06-57BD-F98E-4B13-4621B9C74AF1}"/>
          </ac:picMkLst>
        </pc:picChg>
        <pc:picChg chg="mod">
          <ac:chgData name="Neele Sander" userId="5e9a16695afe287b" providerId="LiveId" clId="{0A651078-8392-4365-8DD2-D1307F89C0DC}" dt="2023-04-18T17:32:26.030" v="1065" actId="1076"/>
          <ac:picMkLst>
            <pc:docMk/>
            <pc:sldMk cId="3493041980" sldId="256"/>
            <ac:picMk id="79" creationId="{D48CCA2D-2D1F-0041-013C-C681CFC5292F}"/>
          </ac:picMkLst>
        </pc:picChg>
        <pc:picChg chg="mod">
          <ac:chgData name="Neele Sander" userId="5e9a16695afe287b" providerId="LiveId" clId="{0A651078-8392-4365-8DD2-D1307F89C0DC}" dt="2023-04-18T17:32:31.514" v="1067" actId="1076"/>
          <ac:picMkLst>
            <pc:docMk/>
            <pc:sldMk cId="3493041980" sldId="256"/>
            <ac:picMk id="80" creationId="{F0D54477-E424-D5FC-4BAA-CF47AFE06BE6}"/>
          </ac:picMkLst>
        </pc:picChg>
        <pc:picChg chg="mod">
          <ac:chgData name="Neele Sander" userId="5e9a16695afe287b" providerId="LiveId" clId="{0A651078-8392-4365-8DD2-D1307F89C0DC}" dt="2023-04-18T17:32:54.323" v="1076" actId="1037"/>
          <ac:picMkLst>
            <pc:docMk/>
            <pc:sldMk cId="3493041980" sldId="256"/>
            <ac:picMk id="82" creationId="{99D63DCD-6E99-3B21-3C1B-14EB61D10641}"/>
          </ac:picMkLst>
        </pc:picChg>
        <pc:picChg chg="mod">
          <ac:chgData name="Neele Sander" userId="5e9a16695afe287b" providerId="LiveId" clId="{0A651078-8392-4365-8DD2-D1307F89C0DC}" dt="2023-04-18T16:13:53.032" v="655" actId="164"/>
          <ac:picMkLst>
            <pc:docMk/>
            <pc:sldMk cId="3493041980" sldId="256"/>
            <ac:picMk id="89" creationId="{ADCA8913-E636-83FF-6599-5CC4246ED0E1}"/>
          </ac:picMkLst>
        </pc:picChg>
        <pc:picChg chg="mod">
          <ac:chgData name="Neele Sander" userId="5e9a16695afe287b" providerId="LiveId" clId="{0A651078-8392-4365-8DD2-D1307F89C0DC}" dt="2023-04-18T16:13:53.032" v="655" actId="164"/>
          <ac:picMkLst>
            <pc:docMk/>
            <pc:sldMk cId="3493041980" sldId="256"/>
            <ac:picMk id="90" creationId="{78761AC5-8C13-237F-6A38-0E694022B12C}"/>
          </ac:picMkLst>
        </pc:picChg>
        <pc:picChg chg="mod">
          <ac:chgData name="Neele Sander" userId="5e9a16695afe287b" providerId="LiveId" clId="{0A651078-8392-4365-8DD2-D1307F89C0DC}" dt="2023-04-18T17:36:28.803" v="1213" actId="1035"/>
          <ac:picMkLst>
            <pc:docMk/>
            <pc:sldMk cId="3493041980" sldId="256"/>
            <ac:picMk id="98" creationId="{2179EE86-C2AC-36EF-1E35-25BAB7D2B3D1}"/>
          </ac:picMkLst>
        </pc:picChg>
        <pc:cxnChg chg="mod">
          <ac:chgData name="Neele Sander" userId="5e9a16695afe287b" providerId="LiveId" clId="{0A651078-8392-4365-8DD2-D1307F89C0DC}" dt="2023-04-18T16:12:57.447" v="646" actId="1037"/>
          <ac:cxnSpMkLst>
            <pc:docMk/>
            <pc:sldMk cId="3493041980" sldId="256"/>
            <ac:cxnSpMk id="15" creationId="{3A043B9D-6477-F59D-CE12-D287BC58BFB3}"/>
          </ac:cxnSpMkLst>
        </pc:cxnChg>
        <pc:cxnChg chg="mod">
          <ac:chgData name="Neele Sander" userId="5e9a16695afe287b" providerId="LiveId" clId="{0A651078-8392-4365-8DD2-D1307F89C0DC}" dt="2023-04-18T16:08:17.404" v="311" actId="14100"/>
          <ac:cxnSpMkLst>
            <pc:docMk/>
            <pc:sldMk cId="3493041980" sldId="256"/>
            <ac:cxnSpMk id="34" creationId="{B31DC192-F63F-0499-9308-C31D74C5D071}"/>
          </ac:cxnSpMkLst>
        </pc:cxnChg>
        <pc:cxnChg chg="mod">
          <ac:chgData name="Neele Sander" userId="5e9a16695afe287b" providerId="LiveId" clId="{0A651078-8392-4365-8DD2-D1307F89C0DC}" dt="2023-04-18T16:10:16.817" v="451" actId="1037"/>
          <ac:cxnSpMkLst>
            <pc:docMk/>
            <pc:sldMk cId="3493041980" sldId="256"/>
            <ac:cxnSpMk id="35" creationId="{88DDA7A8-D059-48AD-8BE2-47C84C3E73ED}"/>
          </ac:cxnSpMkLst>
        </pc:cxnChg>
        <pc:cxnChg chg="mod">
          <ac:chgData name="Neele Sander" userId="5e9a16695afe287b" providerId="LiveId" clId="{0A651078-8392-4365-8DD2-D1307F89C0DC}" dt="2023-04-18T16:22:35.143" v="913" actId="14100"/>
          <ac:cxnSpMkLst>
            <pc:docMk/>
            <pc:sldMk cId="3493041980" sldId="256"/>
            <ac:cxnSpMk id="36" creationId="{367DC1F2-155B-A045-CC53-0FFA83F0950D}"/>
          </ac:cxnSpMkLst>
        </pc:cxnChg>
        <pc:cxnChg chg="mod">
          <ac:chgData name="Neele Sander" userId="5e9a16695afe287b" providerId="LiveId" clId="{0A651078-8392-4365-8DD2-D1307F89C0DC}" dt="2023-04-18T16:08:06.475" v="310" actId="1038"/>
          <ac:cxnSpMkLst>
            <pc:docMk/>
            <pc:sldMk cId="3493041980" sldId="256"/>
            <ac:cxnSpMk id="38" creationId="{A851C76D-D058-8AD7-2DE6-09522559CAF1}"/>
          </ac:cxnSpMkLst>
        </pc:cxnChg>
        <pc:cxnChg chg="mod">
          <ac:chgData name="Neele Sander" userId="5e9a16695afe287b" providerId="LiveId" clId="{0A651078-8392-4365-8DD2-D1307F89C0DC}" dt="2023-04-18T16:16:51.574" v="794" actId="1036"/>
          <ac:cxnSpMkLst>
            <pc:docMk/>
            <pc:sldMk cId="3493041980" sldId="256"/>
            <ac:cxnSpMk id="94" creationId="{5293ACB0-0B3E-CEDA-B74F-B96E3BB136CD}"/>
          </ac:cxnSpMkLst>
        </pc:cxnChg>
      </pc:sldChg>
      <pc:sldMasterChg chg="modSp modSldLayout">
        <pc:chgData name="Neele Sander" userId="5e9a16695afe287b" providerId="LiveId" clId="{0A651078-8392-4365-8DD2-D1307F89C0DC}" dt="2023-04-18T16:02:13.129" v="13"/>
        <pc:sldMasterMkLst>
          <pc:docMk/>
          <pc:sldMasterMk cId="2621349391" sldId="2147483648"/>
        </pc:sldMasterMkLst>
        <pc:spChg chg="mod">
          <ac:chgData name="Neele Sander" userId="5e9a16695afe287b" providerId="LiveId" clId="{0A651078-8392-4365-8DD2-D1307F89C0DC}" dt="2023-04-18T16:02:13.129" v="13"/>
          <ac:spMkLst>
            <pc:docMk/>
            <pc:sldMasterMk cId="2621349391" sldId="2147483648"/>
            <ac:spMk id="2" creationId="{00000000-0000-0000-0000-000000000000}"/>
          </ac:spMkLst>
        </pc:spChg>
        <pc:spChg chg="mod">
          <ac:chgData name="Neele Sander" userId="5e9a16695afe287b" providerId="LiveId" clId="{0A651078-8392-4365-8DD2-D1307F89C0DC}" dt="2023-04-18T16:02:13.129" v="13"/>
          <ac:spMkLst>
            <pc:docMk/>
            <pc:sldMasterMk cId="2621349391" sldId="2147483648"/>
            <ac:spMk id="3" creationId="{00000000-0000-0000-0000-000000000000}"/>
          </ac:spMkLst>
        </pc:spChg>
        <pc:spChg chg="mod">
          <ac:chgData name="Neele Sander" userId="5e9a16695afe287b" providerId="LiveId" clId="{0A651078-8392-4365-8DD2-D1307F89C0DC}" dt="2023-04-18T16:02:13.129" v="13"/>
          <ac:spMkLst>
            <pc:docMk/>
            <pc:sldMasterMk cId="2621349391" sldId="2147483648"/>
            <ac:spMk id="4" creationId="{00000000-0000-0000-0000-000000000000}"/>
          </ac:spMkLst>
        </pc:spChg>
        <pc:spChg chg="mod">
          <ac:chgData name="Neele Sander" userId="5e9a16695afe287b" providerId="LiveId" clId="{0A651078-8392-4365-8DD2-D1307F89C0DC}" dt="2023-04-18T16:02:13.129" v="13"/>
          <ac:spMkLst>
            <pc:docMk/>
            <pc:sldMasterMk cId="2621349391" sldId="2147483648"/>
            <ac:spMk id="5" creationId="{00000000-0000-0000-0000-000000000000}"/>
          </ac:spMkLst>
        </pc:spChg>
        <pc:spChg chg="mod">
          <ac:chgData name="Neele Sander" userId="5e9a16695afe287b" providerId="LiveId" clId="{0A651078-8392-4365-8DD2-D1307F89C0DC}" dt="2023-04-18T16:02:13.129" v="13"/>
          <ac:spMkLst>
            <pc:docMk/>
            <pc:sldMasterMk cId="2621349391" sldId="2147483648"/>
            <ac:spMk id="6" creationId="{00000000-0000-0000-0000-000000000000}"/>
          </ac:spMkLst>
        </pc:spChg>
        <pc:graphicFrameChg chg="mod">
          <ac:chgData name="Neele Sander" userId="5e9a16695afe287b" providerId="LiveId" clId="{0A651078-8392-4365-8DD2-D1307F89C0DC}" dt="2023-04-18T16:02:13.129" v="13"/>
          <ac:graphicFrameMkLst>
            <pc:docMk/>
            <pc:sldMasterMk cId="2621349391" sldId="2147483648"/>
            <ac:graphicFrameMk id="8" creationId="{65BB7F99-0B54-944B-73C6-58FA17E72168}"/>
          </ac:graphicFrameMkLst>
        </pc:graphicFrameChg>
        <pc:sldLayoutChg chg="modSp">
          <pc:chgData name="Neele Sander" userId="5e9a16695afe287b" providerId="LiveId" clId="{0A651078-8392-4365-8DD2-D1307F89C0DC}" dt="2023-04-18T16:02:13.129" v="13"/>
          <pc:sldLayoutMkLst>
            <pc:docMk/>
            <pc:sldMasterMk cId="2621349391" sldId="2147483648"/>
            <pc:sldLayoutMk cId="159143137" sldId="2147483649"/>
          </pc:sldLayoutMkLst>
          <pc:spChg chg="mod">
            <ac:chgData name="Neele Sander" userId="5e9a16695afe287b" providerId="LiveId" clId="{0A651078-8392-4365-8DD2-D1307F89C0DC}" dt="2023-04-18T16:02:13.129" v="13"/>
            <ac:spMkLst>
              <pc:docMk/>
              <pc:sldMasterMk cId="2621349391" sldId="2147483648"/>
              <pc:sldLayoutMk cId="159143137" sldId="2147483649"/>
              <ac:spMk id="2"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159143137" sldId="2147483649"/>
              <ac:spMk id="3" creationId="{00000000-0000-0000-0000-000000000000}"/>
            </ac:spMkLst>
          </pc:spChg>
        </pc:sldLayoutChg>
        <pc:sldLayoutChg chg="modSp">
          <pc:chgData name="Neele Sander" userId="5e9a16695afe287b" providerId="LiveId" clId="{0A651078-8392-4365-8DD2-D1307F89C0DC}" dt="2023-04-18T16:02:13.129" v="13"/>
          <pc:sldLayoutMkLst>
            <pc:docMk/>
            <pc:sldMasterMk cId="2621349391" sldId="2147483648"/>
            <pc:sldLayoutMk cId="2005228828" sldId="2147483651"/>
          </pc:sldLayoutMkLst>
          <pc:spChg chg="mod">
            <ac:chgData name="Neele Sander" userId="5e9a16695afe287b" providerId="LiveId" clId="{0A651078-8392-4365-8DD2-D1307F89C0DC}" dt="2023-04-18T16:02:13.129" v="13"/>
            <ac:spMkLst>
              <pc:docMk/>
              <pc:sldMasterMk cId="2621349391" sldId="2147483648"/>
              <pc:sldLayoutMk cId="2005228828" sldId="2147483651"/>
              <ac:spMk id="2"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2005228828" sldId="2147483651"/>
              <ac:spMk id="3" creationId="{00000000-0000-0000-0000-000000000000}"/>
            </ac:spMkLst>
          </pc:spChg>
        </pc:sldLayoutChg>
        <pc:sldLayoutChg chg="modSp">
          <pc:chgData name="Neele Sander" userId="5e9a16695afe287b" providerId="LiveId" clId="{0A651078-8392-4365-8DD2-D1307F89C0DC}" dt="2023-04-18T16:02:13.129" v="13"/>
          <pc:sldLayoutMkLst>
            <pc:docMk/>
            <pc:sldMasterMk cId="2621349391" sldId="2147483648"/>
            <pc:sldLayoutMk cId="907262591" sldId="2147483652"/>
          </pc:sldLayoutMkLst>
          <pc:spChg chg="mod">
            <ac:chgData name="Neele Sander" userId="5e9a16695afe287b" providerId="LiveId" clId="{0A651078-8392-4365-8DD2-D1307F89C0DC}" dt="2023-04-18T16:02:13.129" v="13"/>
            <ac:spMkLst>
              <pc:docMk/>
              <pc:sldMasterMk cId="2621349391" sldId="2147483648"/>
              <pc:sldLayoutMk cId="907262591" sldId="2147483652"/>
              <ac:spMk id="3"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907262591" sldId="2147483652"/>
              <ac:spMk id="4" creationId="{00000000-0000-0000-0000-000000000000}"/>
            </ac:spMkLst>
          </pc:spChg>
        </pc:sldLayoutChg>
        <pc:sldLayoutChg chg="modSp">
          <pc:chgData name="Neele Sander" userId="5e9a16695afe287b" providerId="LiveId" clId="{0A651078-8392-4365-8DD2-D1307F89C0DC}" dt="2023-04-18T16:02:13.129" v="13"/>
          <pc:sldLayoutMkLst>
            <pc:docMk/>
            <pc:sldMasterMk cId="2621349391" sldId="2147483648"/>
            <pc:sldLayoutMk cId="2030433187" sldId="2147483653"/>
          </pc:sldLayoutMkLst>
          <pc:spChg chg="mod">
            <ac:chgData name="Neele Sander" userId="5e9a16695afe287b" providerId="LiveId" clId="{0A651078-8392-4365-8DD2-D1307F89C0DC}" dt="2023-04-18T16:02:13.129" v="13"/>
            <ac:spMkLst>
              <pc:docMk/>
              <pc:sldMasterMk cId="2621349391" sldId="2147483648"/>
              <pc:sldLayoutMk cId="2030433187" sldId="2147483653"/>
              <ac:spMk id="2"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2030433187" sldId="2147483653"/>
              <ac:spMk id="3"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2030433187" sldId="2147483653"/>
              <ac:spMk id="4"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2030433187" sldId="2147483653"/>
              <ac:spMk id="5"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2030433187" sldId="2147483653"/>
              <ac:spMk id="6" creationId="{00000000-0000-0000-0000-000000000000}"/>
            </ac:spMkLst>
          </pc:spChg>
        </pc:sldLayoutChg>
        <pc:sldLayoutChg chg="modSp">
          <pc:chgData name="Neele Sander" userId="5e9a16695afe287b" providerId="LiveId" clId="{0A651078-8392-4365-8DD2-D1307F89C0DC}" dt="2023-04-18T16:02:13.129" v="13"/>
          <pc:sldLayoutMkLst>
            <pc:docMk/>
            <pc:sldMasterMk cId="2621349391" sldId="2147483648"/>
            <pc:sldLayoutMk cId="336998126" sldId="2147483656"/>
          </pc:sldLayoutMkLst>
          <pc:spChg chg="mod">
            <ac:chgData name="Neele Sander" userId="5e9a16695afe287b" providerId="LiveId" clId="{0A651078-8392-4365-8DD2-D1307F89C0DC}" dt="2023-04-18T16:02:13.129" v="13"/>
            <ac:spMkLst>
              <pc:docMk/>
              <pc:sldMasterMk cId="2621349391" sldId="2147483648"/>
              <pc:sldLayoutMk cId="336998126" sldId="2147483656"/>
              <ac:spMk id="2"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336998126" sldId="2147483656"/>
              <ac:spMk id="3"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336998126" sldId="2147483656"/>
              <ac:spMk id="4" creationId="{00000000-0000-0000-0000-000000000000}"/>
            </ac:spMkLst>
          </pc:spChg>
        </pc:sldLayoutChg>
        <pc:sldLayoutChg chg="modSp">
          <pc:chgData name="Neele Sander" userId="5e9a16695afe287b" providerId="LiveId" clId="{0A651078-8392-4365-8DD2-D1307F89C0DC}" dt="2023-04-18T16:02:13.129" v="13"/>
          <pc:sldLayoutMkLst>
            <pc:docMk/>
            <pc:sldMasterMk cId="2621349391" sldId="2147483648"/>
            <pc:sldLayoutMk cId="3411408302" sldId="2147483657"/>
          </pc:sldLayoutMkLst>
          <pc:spChg chg="mod">
            <ac:chgData name="Neele Sander" userId="5e9a16695afe287b" providerId="LiveId" clId="{0A651078-8392-4365-8DD2-D1307F89C0DC}" dt="2023-04-18T16:02:13.129" v="13"/>
            <ac:spMkLst>
              <pc:docMk/>
              <pc:sldMasterMk cId="2621349391" sldId="2147483648"/>
              <pc:sldLayoutMk cId="3411408302" sldId="2147483657"/>
              <ac:spMk id="2"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3411408302" sldId="2147483657"/>
              <ac:spMk id="3"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3411408302" sldId="2147483657"/>
              <ac:spMk id="4" creationId="{00000000-0000-0000-0000-000000000000}"/>
            </ac:spMkLst>
          </pc:spChg>
        </pc:sldLayoutChg>
        <pc:sldLayoutChg chg="modSp">
          <pc:chgData name="Neele Sander" userId="5e9a16695afe287b" providerId="LiveId" clId="{0A651078-8392-4365-8DD2-D1307F89C0DC}" dt="2023-04-18T16:02:13.129" v="13"/>
          <pc:sldLayoutMkLst>
            <pc:docMk/>
            <pc:sldMasterMk cId="2621349391" sldId="2147483648"/>
            <pc:sldLayoutMk cId="1953783315" sldId="2147483659"/>
          </pc:sldLayoutMkLst>
          <pc:spChg chg="mod">
            <ac:chgData name="Neele Sander" userId="5e9a16695afe287b" providerId="LiveId" clId="{0A651078-8392-4365-8DD2-D1307F89C0DC}" dt="2023-04-18T16:02:13.129" v="13"/>
            <ac:spMkLst>
              <pc:docMk/>
              <pc:sldMasterMk cId="2621349391" sldId="2147483648"/>
              <pc:sldLayoutMk cId="1953783315" sldId="2147483659"/>
              <ac:spMk id="2" creationId="{00000000-0000-0000-0000-000000000000}"/>
            </ac:spMkLst>
          </pc:spChg>
          <pc:spChg chg="mod">
            <ac:chgData name="Neele Sander" userId="5e9a16695afe287b" providerId="LiveId" clId="{0A651078-8392-4365-8DD2-D1307F89C0DC}" dt="2023-04-18T16:02:13.129" v="13"/>
            <ac:spMkLst>
              <pc:docMk/>
              <pc:sldMasterMk cId="2621349391" sldId="2147483648"/>
              <pc:sldLayoutMk cId="1953783315" sldId="2147483659"/>
              <ac:spMk id="3" creationId="{00000000-0000-0000-0000-000000000000}"/>
            </ac:spMkLst>
          </pc:spChg>
        </pc:sldLayoutChg>
      </pc:sldMaster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4435475" cy="355600"/>
          </a:xfrm>
          <a:prstGeom prst="rect">
            <a:avLst/>
          </a:prstGeom>
        </p:spPr>
        <p:txBody>
          <a:bodyPr vert="horz" lIns="91440" tIns="45720" rIns="91440" bIns="45720" rtlCol="0"/>
          <a:lstStyle>
            <a:lvl1pPr algn="l">
              <a:defRPr sz="1200"/>
            </a:lvl1pPr>
          </a:lstStyle>
          <a:p>
            <a:endParaRPr lang="en-GB"/>
          </a:p>
        </p:txBody>
      </p:sp>
      <p:sp>
        <p:nvSpPr>
          <p:cNvPr id="3" name="Datumsplatzhalter 2"/>
          <p:cNvSpPr>
            <a:spLocks noGrp="1"/>
          </p:cNvSpPr>
          <p:nvPr>
            <p:ph type="dt" idx="1"/>
          </p:nvPr>
        </p:nvSpPr>
        <p:spPr>
          <a:xfrm>
            <a:off x="5797550" y="0"/>
            <a:ext cx="4435475" cy="355600"/>
          </a:xfrm>
          <a:prstGeom prst="rect">
            <a:avLst/>
          </a:prstGeom>
        </p:spPr>
        <p:txBody>
          <a:bodyPr vert="horz" lIns="91440" tIns="45720" rIns="91440" bIns="45720" rtlCol="0"/>
          <a:lstStyle>
            <a:lvl1pPr algn="r">
              <a:defRPr sz="1200"/>
            </a:lvl1pPr>
          </a:lstStyle>
          <a:p>
            <a:fld id="{BF382F72-934F-4D78-9313-C41858F39F4F}" type="datetimeFigureOut">
              <a:rPr lang="en-GB" smtClean="0"/>
              <a:t>18/04/2023</a:t>
            </a:fld>
            <a:endParaRPr lang="en-GB"/>
          </a:p>
        </p:txBody>
      </p:sp>
      <p:sp>
        <p:nvSpPr>
          <p:cNvPr id="4" name="Folienbildplatzhalter 3"/>
          <p:cNvSpPr>
            <a:spLocks noGrp="1" noRot="1" noChangeAspect="1"/>
          </p:cNvSpPr>
          <p:nvPr>
            <p:ph type="sldImg" idx="2"/>
          </p:nvPr>
        </p:nvSpPr>
        <p:spPr>
          <a:xfrm>
            <a:off x="3022600" y="887413"/>
            <a:ext cx="4189413" cy="2395537"/>
          </a:xfrm>
          <a:prstGeom prst="rect">
            <a:avLst/>
          </a:prstGeom>
          <a:noFill/>
          <a:ln w="12700">
            <a:solidFill>
              <a:prstClr val="black"/>
            </a:solidFill>
          </a:ln>
        </p:spPr>
        <p:txBody>
          <a:bodyPr vert="horz" lIns="91440" tIns="45720" rIns="91440" bIns="45720" rtlCol="0" anchor="ctr"/>
          <a:lstStyle/>
          <a:p>
            <a:endParaRPr lang="en-GB"/>
          </a:p>
        </p:txBody>
      </p:sp>
      <p:sp>
        <p:nvSpPr>
          <p:cNvPr id="5" name="Notizenplatzhalter 4"/>
          <p:cNvSpPr>
            <a:spLocks noGrp="1"/>
          </p:cNvSpPr>
          <p:nvPr>
            <p:ph type="body" sz="quarter" idx="3"/>
          </p:nvPr>
        </p:nvSpPr>
        <p:spPr>
          <a:xfrm>
            <a:off x="1023938" y="3416300"/>
            <a:ext cx="8186737" cy="2795588"/>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GB"/>
          </a:p>
        </p:txBody>
      </p:sp>
      <p:sp>
        <p:nvSpPr>
          <p:cNvPr id="6" name="Fußzeilenplatzhalter 5"/>
          <p:cNvSpPr>
            <a:spLocks noGrp="1"/>
          </p:cNvSpPr>
          <p:nvPr>
            <p:ph type="ftr" sz="quarter" idx="4"/>
          </p:nvPr>
        </p:nvSpPr>
        <p:spPr>
          <a:xfrm>
            <a:off x="0" y="6743700"/>
            <a:ext cx="4435475" cy="355600"/>
          </a:xfrm>
          <a:prstGeom prst="rect">
            <a:avLst/>
          </a:prstGeom>
        </p:spPr>
        <p:txBody>
          <a:bodyPr vert="horz" lIns="91440" tIns="45720" rIns="91440" bIns="45720" rtlCol="0" anchor="b"/>
          <a:lstStyle>
            <a:lvl1pPr algn="l">
              <a:defRPr sz="1200"/>
            </a:lvl1pPr>
          </a:lstStyle>
          <a:p>
            <a:endParaRPr lang="en-GB"/>
          </a:p>
        </p:txBody>
      </p:sp>
      <p:sp>
        <p:nvSpPr>
          <p:cNvPr id="7" name="Foliennummernplatzhalter 6"/>
          <p:cNvSpPr>
            <a:spLocks noGrp="1"/>
          </p:cNvSpPr>
          <p:nvPr>
            <p:ph type="sldNum" sz="quarter" idx="5"/>
          </p:nvPr>
        </p:nvSpPr>
        <p:spPr>
          <a:xfrm>
            <a:off x="5797550" y="6743700"/>
            <a:ext cx="4435475" cy="355600"/>
          </a:xfrm>
          <a:prstGeom prst="rect">
            <a:avLst/>
          </a:prstGeom>
        </p:spPr>
        <p:txBody>
          <a:bodyPr vert="horz" lIns="91440" tIns="45720" rIns="91440" bIns="45720" rtlCol="0" anchor="b"/>
          <a:lstStyle>
            <a:lvl1pPr algn="r">
              <a:defRPr sz="1200"/>
            </a:lvl1pPr>
          </a:lstStyle>
          <a:p>
            <a:fld id="{2B65ED7A-09F2-44EB-B926-B7534ED08C1C}" type="slidenum">
              <a:rPr lang="en-GB" smtClean="0"/>
              <a:t>‹Nr.›</a:t>
            </a:fld>
            <a:endParaRPr lang="en-GB"/>
          </a:p>
        </p:txBody>
      </p:sp>
    </p:spTree>
    <p:extLst>
      <p:ext uri="{BB962C8B-B14F-4D97-AF65-F5344CB8AC3E}">
        <p14:creationId xmlns:p14="http://schemas.microsoft.com/office/powerpoint/2010/main" val="157885574"/>
      </p:ext>
    </p:extLst>
  </p:cSld>
  <p:clrMap bg1="lt1" tx1="dk1" bg2="lt2" tx2="dk2" accent1="accent1" accent2="accent2" accent3="accent3" accent4="accent4" accent5="accent5" accent6="accent6" hlink="hlink" folHlink="folHlink"/>
  <p:notesStyle>
    <a:lvl1pPr marL="0" algn="l" defTabSz="862266" rtl="0" eaLnBrk="1" latinLnBrk="0" hangingPunct="1">
      <a:defRPr sz="1132" kern="1200">
        <a:solidFill>
          <a:schemeClr val="tx1"/>
        </a:solidFill>
        <a:latin typeface="+mn-lt"/>
        <a:ea typeface="+mn-ea"/>
        <a:cs typeface="+mn-cs"/>
      </a:defRPr>
    </a:lvl1pPr>
    <a:lvl2pPr marL="431133" algn="l" defTabSz="862266" rtl="0" eaLnBrk="1" latinLnBrk="0" hangingPunct="1">
      <a:defRPr sz="1132" kern="1200">
        <a:solidFill>
          <a:schemeClr val="tx1"/>
        </a:solidFill>
        <a:latin typeface="+mn-lt"/>
        <a:ea typeface="+mn-ea"/>
        <a:cs typeface="+mn-cs"/>
      </a:defRPr>
    </a:lvl2pPr>
    <a:lvl3pPr marL="862266" algn="l" defTabSz="862266" rtl="0" eaLnBrk="1" latinLnBrk="0" hangingPunct="1">
      <a:defRPr sz="1132" kern="1200">
        <a:solidFill>
          <a:schemeClr val="tx1"/>
        </a:solidFill>
        <a:latin typeface="+mn-lt"/>
        <a:ea typeface="+mn-ea"/>
        <a:cs typeface="+mn-cs"/>
      </a:defRPr>
    </a:lvl3pPr>
    <a:lvl4pPr marL="1293399" algn="l" defTabSz="862266" rtl="0" eaLnBrk="1" latinLnBrk="0" hangingPunct="1">
      <a:defRPr sz="1132" kern="1200">
        <a:solidFill>
          <a:schemeClr val="tx1"/>
        </a:solidFill>
        <a:latin typeface="+mn-lt"/>
        <a:ea typeface="+mn-ea"/>
        <a:cs typeface="+mn-cs"/>
      </a:defRPr>
    </a:lvl4pPr>
    <a:lvl5pPr marL="1724532" algn="l" defTabSz="862266" rtl="0" eaLnBrk="1" latinLnBrk="0" hangingPunct="1">
      <a:defRPr sz="1132" kern="1200">
        <a:solidFill>
          <a:schemeClr val="tx1"/>
        </a:solidFill>
        <a:latin typeface="+mn-lt"/>
        <a:ea typeface="+mn-ea"/>
        <a:cs typeface="+mn-cs"/>
      </a:defRPr>
    </a:lvl5pPr>
    <a:lvl6pPr marL="2155665" algn="l" defTabSz="862266" rtl="0" eaLnBrk="1" latinLnBrk="0" hangingPunct="1">
      <a:defRPr sz="1132" kern="1200">
        <a:solidFill>
          <a:schemeClr val="tx1"/>
        </a:solidFill>
        <a:latin typeface="+mn-lt"/>
        <a:ea typeface="+mn-ea"/>
        <a:cs typeface="+mn-cs"/>
      </a:defRPr>
    </a:lvl6pPr>
    <a:lvl7pPr marL="2586798" algn="l" defTabSz="862266" rtl="0" eaLnBrk="1" latinLnBrk="0" hangingPunct="1">
      <a:defRPr sz="1132" kern="1200">
        <a:solidFill>
          <a:schemeClr val="tx1"/>
        </a:solidFill>
        <a:latin typeface="+mn-lt"/>
        <a:ea typeface="+mn-ea"/>
        <a:cs typeface="+mn-cs"/>
      </a:defRPr>
    </a:lvl7pPr>
    <a:lvl8pPr marL="3017931" algn="l" defTabSz="862266" rtl="0" eaLnBrk="1" latinLnBrk="0" hangingPunct="1">
      <a:defRPr sz="1132" kern="1200">
        <a:solidFill>
          <a:schemeClr val="tx1"/>
        </a:solidFill>
        <a:latin typeface="+mn-lt"/>
        <a:ea typeface="+mn-ea"/>
        <a:cs typeface="+mn-cs"/>
      </a:defRPr>
    </a:lvl8pPr>
    <a:lvl9pPr marL="3449064" algn="l" defTabSz="862266" rtl="0" eaLnBrk="1" latinLnBrk="0" hangingPunct="1">
      <a:defRPr sz="1132"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3022600" y="887413"/>
            <a:ext cx="4189413" cy="2395537"/>
          </a:xfrm>
        </p:spPr>
      </p:sp>
      <p:sp>
        <p:nvSpPr>
          <p:cNvPr id="3" name="Notizenplatzhalter 2"/>
          <p:cNvSpPr>
            <a:spLocks noGrp="1"/>
          </p:cNvSpPr>
          <p:nvPr>
            <p:ph type="body" idx="1"/>
          </p:nvPr>
        </p:nvSpPr>
        <p:spPr/>
        <p:txBody>
          <a:bodyPr/>
          <a:lstStyle/>
          <a:p>
            <a:endParaRPr lang="en-GB" dirty="0"/>
          </a:p>
        </p:txBody>
      </p:sp>
      <p:sp>
        <p:nvSpPr>
          <p:cNvPr id="4" name="Foliennummernplatzhalter 3"/>
          <p:cNvSpPr>
            <a:spLocks noGrp="1"/>
          </p:cNvSpPr>
          <p:nvPr>
            <p:ph type="sldNum" sz="quarter" idx="5"/>
          </p:nvPr>
        </p:nvSpPr>
        <p:spPr/>
        <p:txBody>
          <a:bodyPr/>
          <a:lstStyle/>
          <a:p>
            <a:fld id="{2B65ED7A-09F2-44EB-B926-B7534ED08C1C}" type="slidenum">
              <a:rPr lang="en-GB" smtClean="0"/>
              <a:t>1</a:t>
            </a:fld>
            <a:endParaRPr lang="en-GB"/>
          </a:p>
        </p:txBody>
      </p:sp>
    </p:spTree>
    <p:extLst>
      <p:ext uri="{BB962C8B-B14F-4D97-AF65-F5344CB8AC3E}">
        <p14:creationId xmlns:p14="http://schemas.microsoft.com/office/powerpoint/2010/main" val="24930489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3779999" y="8946802"/>
            <a:ext cx="42839958" cy="6173425"/>
          </a:xfrm>
        </p:spPr>
        <p:txBody>
          <a:bodyPr/>
          <a:lstStyle/>
          <a:p>
            <a:r>
              <a:rPr lang="en-US"/>
              <a:t>Click to edit Master title style</a:t>
            </a:r>
          </a:p>
        </p:txBody>
      </p:sp>
      <p:sp>
        <p:nvSpPr>
          <p:cNvPr id="3" name="Subtitle 2"/>
          <p:cNvSpPr>
            <a:spLocks noGrp="1"/>
          </p:cNvSpPr>
          <p:nvPr>
            <p:ph type="subTitle" idx="1"/>
          </p:nvPr>
        </p:nvSpPr>
        <p:spPr>
          <a:xfrm>
            <a:off x="7559999" y="16320243"/>
            <a:ext cx="35279966" cy="7360109"/>
          </a:xfrm>
        </p:spPr>
        <p:txBody>
          <a:bodyPr/>
          <a:lstStyle>
            <a:lvl1pPr marL="0" indent="0" algn="ctr">
              <a:buNone/>
              <a:defRPr>
                <a:solidFill>
                  <a:schemeClr val="tx1">
                    <a:tint val="75000"/>
                  </a:schemeClr>
                </a:solidFill>
              </a:defRPr>
            </a:lvl1pPr>
            <a:lvl2pPr marL="1425212" indent="0" algn="ctr">
              <a:buNone/>
              <a:defRPr>
                <a:solidFill>
                  <a:schemeClr val="tx1">
                    <a:tint val="75000"/>
                  </a:schemeClr>
                </a:solidFill>
              </a:defRPr>
            </a:lvl2pPr>
            <a:lvl3pPr marL="2850425" indent="0" algn="ctr">
              <a:buNone/>
              <a:defRPr>
                <a:solidFill>
                  <a:schemeClr val="tx1">
                    <a:tint val="75000"/>
                  </a:schemeClr>
                </a:solidFill>
              </a:defRPr>
            </a:lvl3pPr>
            <a:lvl4pPr marL="4275636" indent="0" algn="ctr">
              <a:buNone/>
              <a:defRPr>
                <a:solidFill>
                  <a:schemeClr val="tx1">
                    <a:tint val="75000"/>
                  </a:schemeClr>
                </a:solidFill>
              </a:defRPr>
            </a:lvl4pPr>
            <a:lvl5pPr marL="5700847" indent="0" algn="ctr">
              <a:buNone/>
              <a:defRPr>
                <a:solidFill>
                  <a:schemeClr val="tx1">
                    <a:tint val="75000"/>
                  </a:schemeClr>
                </a:solidFill>
              </a:defRPr>
            </a:lvl5pPr>
            <a:lvl6pPr marL="7126058" indent="0" algn="ctr">
              <a:buNone/>
              <a:defRPr>
                <a:solidFill>
                  <a:schemeClr val="tx1">
                    <a:tint val="75000"/>
                  </a:schemeClr>
                </a:solidFill>
              </a:defRPr>
            </a:lvl6pPr>
            <a:lvl7pPr marL="8551271" indent="0" algn="ctr">
              <a:buNone/>
              <a:defRPr>
                <a:solidFill>
                  <a:schemeClr val="tx1">
                    <a:tint val="75000"/>
                  </a:schemeClr>
                </a:solidFill>
              </a:defRPr>
            </a:lvl7pPr>
            <a:lvl8pPr marL="9976483" indent="0" algn="ctr">
              <a:buNone/>
              <a:defRPr>
                <a:solidFill>
                  <a:schemeClr val="tx1">
                    <a:tint val="75000"/>
                  </a:schemeClr>
                </a:solidFill>
              </a:defRPr>
            </a:lvl8pPr>
            <a:lvl9pPr marL="11401696"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360456FA-F14E-E942-9F6F-84EFD28CFFA1}" type="datetimeFigureOut">
              <a:rPr lang="en-US" smtClean="0"/>
              <a:t>4/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1591431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0456FA-F14E-E942-9F6F-84EFD28CFFA1}" type="datetimeFigureOut">
              <a:rPr lang="en-US" smtClean="0"/>
              <a:t>4/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2222526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09619898" y="5533415"/>
            <a:ext cx="34019967" cy="117955076"/>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7559992" y="5533415"/>
            <a:ext cx="101219900" cy="117955076"/>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0456FA-F14E-E942-9F6F-84EFD28CFFA1}" type="datetimeFigureOut">
              <a:rPr lang="en-US" smtClean="0"/>
              <a:t>4/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195378331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360456FA-F14E-E942-9F6F-84EFD28CFFA1}" type="datetimeFigureOut">
              <a:rPr lang="en-US" smtClean="0"/>
              <a:t>4/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13596195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3981251" y="18506944"/>
            <a:ext cx="42839958" cy="5720085"/>
          </a:xfrm>
        </p:spPr>
        <p:txBody>
          <a:bodyPr anchor="t"/>
          <a:lstStyle>
            <a:lvl1pPr algn="l">
              <a:defRPr sz="12518" b="1" cap="all"/>
            </a:lvl1pPr>
          </a:lstStyle>
          <a:p>
            <a:r>
              <a:rPr lang="en-US"/>
              <a:t>Click to edit Master title style</a:t>
            </a:r>
          </a:p>
        </p:txBody>
      </p:sp>
      <p:sp>
        <p:nvSpPr>
          <p:cNvPr id="3" name="Text Placeholder 2"/>
          <p:cNvSpPr>
            <a:spLocks noGrp="1"/>
          </p:cNvSpPr>
          <p:nvPr>
            <p:ph type="body" idx="1"/>
          </p:nvPr>
        </p:nvSpPr>
        <p:spPr>
          <a:xfrm>
            <a:off x="3981251" y="12206851"/>
            <a:ext cx="42839958" cy="6300092"/>
          </a:xfrm>
        </p:spPr>
        <p:txBody>
          <a:bodyPr anchor="b"/>
          <a:lstStyle>
            <a:lvl1pPr marL="0" indent="0">
              <a:buNone/>
              <a:defRPr sz="6192">
                <a:solidFill>
                  <a:schemeClr val="tx1">
                    <a:tint val="75000"/>
                  </a:schemeClr>
                </a:solidFill>
              </a:defRPr>
            </a:lvl1pPr>
            <a:lvl2pPr marL="1425212" indent="0">
              <a:buNone/>
              <a:defRPr sz="5653">
                <a:solidFill>
                  <a:schemeClr val="tx1">
                    <a:tint val="75000"/>
                  </a:schemeClr>
                </a:solidFill>
              </a:defRPr>
            </a:lvl2pPr>
            <a:lvl3pPr marL="2850425" indent="0">
              <a:buNone/>
              <a:defRPr sz="4980">
                <a:solidFill>
                  <a:schemeClr val="tx1">
                    <a:tint val="75000"/>
                  </a:schemeClr>
                </a:solidFill>
              </a:defRPr>
            </a:lvl3pPr>
            <a:lvl4pPr marL="4275636" indent="0">
              <a:buNone/>
              <a:defRPr sz="4442">
                <a:solidFill>
                  <a:schemeClr val="tx1">
                    <a:tint val="75000"/>
                  </a:schemeClr>
                </a:solidFill>
              </a:defRPr>
            </a:lvl4pPr>
            <a:lvl5pPr marL="5700847" indent="0">
              <a:buNone/>
              <a:defRPr sz="4442">
                <a:solidFill>
                  <a:schemeClr val="tx1">
                    <a:tint val="75000"/>
                  </a:schemeClr>
                </a:solidFill>
              </a:defRPr>
            </a:lvl5pPr>
            <a:lvl6pPr marL="7126058" indent="0">
              <a:buNone/>
              <a:defRPr sz="4442">
                <a:solidFill>
                  <a:schemeClr val="tx1">
                    <a:tint val="75000"/>
                  </a:schemeClr>
                </a:solidFill>
              </a:defRPr>
            </a:lvl6pPr>
            <a:lvl7pPr marL="8551271" indent="0">
              <a:buNone/>
              <a:defRPr sz="4442">
                <a:solidFill>
                  <a:schemeClr val="tx1">
                    <a:tint val="75000"/>
                  </a:schemeClr>
                </a:solidFill>
              </a:defRPr>
            </a:lvl7pPr>
            <a:lvl8pPr marL="9976483" indent="0">
              <a:buNone/>
              <a:defRPr sz="4442">
                <a:solidFill>
                  <a:schemeClr val="tx1">
                    <a:tint val="75000"/>
                  </a:schemeClr>
                </a:solidFill>
              </a:defRPr>
            </a:lvl8pPr>
            <a:lvl9pPr marL="11401696" indent="0">
              <a:buNone/>
              <a:defRPr sz="4442">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360456FA-F14E-E942-9F6F-84EFD28CFFA1}" type="datetimeFigureOut">
              <a:rPr lang="en-US" smtClean="0"/>
              <a:t>4/18/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200522882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7559992" y="32253814"/>
            <a:ext cx="67619933" cy="91234681"/>
          </a:xfrm>
        </p:spPr>
        <p:txBody>
          <a:bodyPr/>
          <a:lstStyle>
            <a:lvl1pPr>
              <a:defRPr sz="8749"/>
            </a:lvl1pPr>
            <a:lvl2pPr>
              <a:defRPr sz="7537"/>
            </a:lvl2pPr>
            <a:lvl3pPr>
              <a:defRPr sz="6192"/>
            </a:lvl3pPr>
            <a:lvl4pPr>
              <a:defRPr sz="5653"/>
            </a:lvl4pPr>
            <a:lvl5pPr>
              <a:defRPr sz="5653"/>
            </a:lvl5pPr>
            <a:lvl6pPr>
              <a:defRPr sz="5653"/>
            </a:lvl6pPr>
            <a:lvl7pPr>
              <a:defRPr sz="5653"/>
            </a:lvl7pPr>
            <a:lvl8pPr>
              <a:defRPr sz="5653"/>
            </a:lvl8pPr>
            <a:lvl9pPr>
              <a:defRPr sz="56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76019927" y="32253814"/>
            <a:ext cx="67619933" cy="91234681"/>
          </a:xfrm>
        </p:spPr>
        <p:txBody>
          <a:bodyPr/>
          <a:lstStyle>
            <a:lvl1pPr>
              <a:defRPr sz="8749"/>
            </a:lvl1pPr>
            <a:lvl2pPr>
              <a:defRPr sz="7537"/>
            </a:lvl2pPr>
            <a:lvl3pPr>
              <a:defRPr sz="6192"/>
            </a:lvl3pPr>
            <a:lvl4pPr>
              <a:defRPr sz="5653"/>
            </a:lvl4pPr>
            <a:lvl5pPr>
              <a:defRPr sz="5653"/>
            </a:lvl5pPr>
            <a:lvl6pPr>
              <a:defRPr sz="5653"/>
            </a:lvl6pPr>
            <a:lvl7pPr>
              <a:defRPr sz="5653"/>
            </a:lvl7pPr>
            <a:lvl8pPr>
              <a:defRPr sz="5653"/>
            </a:lvl8pPr>
            <a:lvl9pPr>
              <a:defRPr sz="5653"/>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360456FA-F14E-E942-9F6F-84EFD28CFFA1}" type="datetimeFigureOut">
              <a:rPr lang="en-US" smtClean="0"/>
              <a:t>4/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9072625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2520000" y="1153355"/>
            <a:ext cx="45359956" cy="480007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2520006" y="6446764"/>
            <a:ext cx="22268731" cy="2686704"/>
          </a:xfrm>
        </p:spPr>
        <p:txBody>
          <a:bodyPr anchor="b"/>
          <a:lstStyle>
            <a:lvl1pPr marL="0" indent="0">
              <a:buNone/>
              <a:defRPr sz="7537" b="1"/>
            </a:lvl1pPr>
            <a:lvl2pPr marL="1425212" indent="0">
              <a:buNone/>
              <a:defRPr sz="6192" b="1"/>
            </a:lvl2pPr>
            <a:lvl3pPr marL="2850425" indent="0">
              <a:buNone/>
              <a:defRPr sz="5653" b="1"/>
            </a:lvl3pPr>
            <a:lvl4pPr marL="4275636" indent="0">
              <a:buNone/>
              <a:defRPr sz="4980" b="1"/>
            </a:lvl4pPr>
            <a:lvl5pPr marL="5700847" indent="0">
              <a:buNone/>
              <a:defRPr sz="4980" b="1"/>
            </a:lvl5pPr>
            <a:lvl6pPr marL="7126058" indent="0">
              <a:buNone/>
              <a:defRPr sz="4980" b="1"/>
            </a:lvl6pPr>
            <a:lvl7pPr marL="8551271" indent="0">
              <a:buNone/>
              <a:defRPr sz="4980" b="1"/>
            </a:lvl7pPr>
            <a:lvl8pPr marL="9976483" indent="0">
              <a:buNone/>
              <a:defRPr sz="4980" b="1"/>
            </a:lvl8pPr>
            <a:lvl9pPr marL="11401696" indent="0">
              <a:buNone/>
              <a:defRPr sz="4980" b="1"/>
            </a:lvl9pPr>
          </a:lstStyle>
          <a:p>
            <a:pPr lvl="0"/>
            <a:r>
              <a:rPr lang="en-US"/>
              <a:t>Click to edit Master text styles</a:t>
            </a:r>
          </a:p>
        </p:txBody>
      </p:sp>
      <p:sp>
        <p:nvSpPr>
          <p:cNvPr id="4" name="Content Placeholder 3"/>
          <p:cNvSpPr>
            <a:spLocks noGrp="1"/>
          </p:cNvSpPr>
          <p:nvPr>
            <p:ph sz="half" idx="2"/>
          </p:nvPr>
        </p:nvSpPr>
        <p:spPr>
          <a:xfrm>
            <a:off x="2520006" y="9133468"/>
            <a:ext cx="22268731" cy="16593579"/>
          </a:xfrm>
        </p:spPr>
        <p:txBody>
          <a:bodyPr/>
          <a:lstStyle>
            <a:lvl1pPr>
              <a:defRPr sz="7537"/>
            </a:lvl1pPr>
            <a:lvl2pPr>
              <a:defRPr sz="6192"/>
            </a:lvl2pPr>
            <a:lvl3pPr>
              <a:defRPr sz="5653"/>
            </a:lvl3pPr>
            <a:lvl4pPr>
              <a:defRPr sz="4980"/>
            </a:lvl4pPr>
            <a:lvl5pPr>
              <a:defRPr sz="4980"/>
            </a:lvl5pPr>
            <a:lvl6pPr>
              <a:defRPr sz="4980"/>
            </a:lvl6pPr>
            <a:lvl7pPr>
              <a:defRPr sz="4980"/>
            </a:lvl7pPr>
            <a:lvl8pPr>
              <a:defRPr sz="4980"/>
            </a:lvl8pPr>
            <a:lvl9pPr>
              <a:defRPr sz="49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25602482" y="6446764"/>
            <a:ext cx="22277478" cy="2686704"/>
          </a:xfrm>
        </p:spPr>
        <p:txBody>
          <a:bodyPr anchor="b"/>
          <a:lstStyle>
            <a:lvl1pPr marL="0" indent="0">
              <a:buNone/>
              <a:defRPr sz="7537" b="1"/>
            </a:lvl1pPr>
            <a:lvl2pPr marL="1425212" indent="0">
              <a:buNone/>
              <a:defRPr sz="6192" b="1"/>
            </a:lvl2pPr>
            <a:lvl3pPr marL="2850425" indent="0">
              <a:buNone/>
              <a:defRPr sz="5653" b="1"/>
            </a:lvl3pPr>
            <a:lvl4pPr marL="4275636" indent="0">
              <a:buNone/>
              <a:defRPr sz="4980" b="1"/>
            </a:lvl4pPr>
            <a:lvl5pPr marL="5700847" indent="0">
              <a:buNone/>
              <a:defRPr sz="4980" b="1"/>
            </a:lvl5pPr>
            <a:lvl6pPr marL="7126058" indent="0">
              <a:buNone/>
              <a:defRPr sz="4980" b="1"/>
            </a:lvl6pPr>
            <a:lvl7pPr marL="8551271" indent="0">
              <a:buNone/>
              <a:defRPr sz="4980" b="1"/>
            </a:lvl7pPr>
            <a:lvl8pPr marL="9976483" indent="0">
              <a:buNone/>
              <a:defRPr sz="4980" b="1"/>
            </a:lvl8pPr>
            <a:lvl9pPr marL="11401696" indent="0">
              <a:buNone/>
              <a:defRPr sz="4980" b="1"/>
            </a:lvl9pPr>
          </a:lstStyle>
          <a:p>
            <a:pPr lvl="0"/>
            <a:r>
              <a:rPr lang="en-US"/>
              <a:t>Click to edit Master text styles</a:t>
            </a:r>
          </a:p>
        </p:txBody>
      </p:sp>
      <p:sp>
        <p:nvSpPr>
          <p:cNvPr id="6" name="Content Placeholder 5"/>
          <p:cNvSpPr>
            <a:spLocks noGrp="1"/>
          </p:cNvSpPr>
          <p:nvPr>
            <p:ph sz="quarter" idx="4"/>
          </p:nvPr>
        </p:nvSpPr>
        <p:spPr>
          <a:xfrm>
            <a:off x="25602482" y="9133468"/>
            <a:ext cx="22277478" cy="16593579"/>
          </a:xfrm>
        </p:spPr>
        <p:txBody>
          <a:bodyPr/>
          <a:lstStyle>
            <a:lvl1pPr>
              <a:defRPr sz="7537"/>
            </a:lvl1pPr>
            <a:lvl2pPr>
              <a:defRPr sz="6192"/>
            </a:lvl2pPr>
            <a:lvl3pPr>
              <a:defRPr sz="5653"/>
            </a:lvl3pPr>
            <a:lvl4pPr>
              <a:defRPr sz="4980"/>
            </a:lvl4pPr>
            <a:lvl5pPr>
              <a:defRPr sz="4980"/>
            </a:lvl5pPr>
            <a:lvl6pPr>
              <a:defRPr sz="4980"/>
            </a:lvl6pPr>
            <a:lvl7pPr>
              <a:defRPr sz="4980"/>
            </a:lvl7pPr>
            <a:lvl8pPr>
              <a:defRPr sz="4980"/>
            </a:lvl8pPr>
            <a:lvl9pPr>
              <a:defRPr sz="498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360456FA-F14E-E942-9F6F-84EFD28CFFA1}" type="datetimeFigureOut">
              <a:rPr lang="en-US" smtClean="0"/>
              <a:t>4/18/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20304331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360456FA-F14E-E942-9F6F-84EFD28CFFA1}" type="datetimeFigureOut">
              <a:rPr lang="en-US" smtClean="0"/>
              <a:t>4/18/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38429270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360456FA-F14E-E942-9F6F-84EFD28CFFA1}" type="datetimeFigureOut">
              <a:rPr lang="en-US" smtClean="0"/>
              <a:t>4/18/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19276891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520013" y="1146684"/>
            <a:ext cx="16581237" cy="4880071"/>
          </a:xfrm>
        </p:spPr>
        <p:txBody>
          <a:bodyPr anchor="b"/>
          <a:lstStyle>
            <a:lvl1pPr algn="l">
              <a:defRPr sz="6192" b="1"/>
            </a:lvl1pPr>
          </a:lstStyle>
          <a:p>
            <a:r>
              <a:rPr lang="en-US"/>
              <a:t>Click to edit Master title style</a:t>
            </a:r>
          </a:p>
        </p:txBody>
      </p:sp>
      <p:sp>
        <p:nvSpPr>
          <p:cNvPr id="3" name="Content Placeholder 2"/>
          <p:cNvSpPr>
            <a:spLocks noGrp="1"/>
          </p:cNvSpPr>
          <p:nvPr>
            <p:ph idx="1"/>
          </p:nvPr>
        </p:nvSpPr>
        <p:spPr>
          <a:xfrm>
            <a:off x="19704988" y="1146687"/>
            <a:ext cx="28174971" cy="24580364"/>
          </a:xfrm>
        </p:spPr>
        <p:txBody>
          <a:bodyPr/>
          <a:lstStyle>
            <a:lvl1pPr>
              <a:defRPr sz="9960"/>
            </a:lvl1pPr>
            <a:lvl2pPr>
              <a:defRPr sz="8749"/>
            </a:lvl2pPr>
            <a:lvl3pPr>
              <a:defRPr sz="7537"/>
            </a:lvl3pPr>
            <a:lvl4pPr>
              <a:defRPr sz="6192"/>
            </a:lvl4pPr>
            <a:lvl5pPr>
              <a:defRPr sz="6192"/>
            </a:lvl5pPr>
            <a:lvl6pPr>
              <a:defRPr sz="6192"/>
            </a:lvl6pPr>
            <a:lvl7pPr>
              <a:defRPr sz="6192"/>
            </a:lvl7pPr>
            <a:lvl8pPr>
              <a:defRPr sz="6192"/>
            </a:lvl8pPr>
            <a:lvl9pPr>
              <a:defRPr sz="6192"/>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2520013" y="6026761"/>
            <a:ext cx="16581237" cy="19700293"/>
          </a:xfrm>
        </p:spPr>
        <p:txBody>
          <a:bodyPr/>
          <a:lstStyle>
            <a:lvl1pPr marL="0" indent="0">
              <a:buNone/>
              <a:defRPr sz="4442"/>
            </a:lvl1pPr>
            <a:lvl2pPr marL="1425212" indent="0">
              <a:buNone/>
              <a:defRPr sz="3769"/>
            </a:lvl2pPr>
            <a:lvl3pPr marL="2850425" indent="0">
              <a:buNone/>
              <a:defRPr sz="3096"/>
            </a:lvl3pPr>
            <a:lvl4pPr marL="4275636" indent="0">
              <a:buNone/>
              <a:defRPr sz="2826"/>
            </a:lvl4pPr>
            <a:lvl5pPr marL="5700847" indent="0">
              <a:buNone/>
              <a:defRPr sz="2826"/>
            </a:lvl5pPr>
            <a:lvl6pPr marL="7126058" indent="0">
              <a:buNone/>
              <a:defRPr sz="2826"/>
            </a:lvl6pPr>
            <a:lvl7pPr marL="8551271" indent="0">
              <a:buNone/>
              <a:defRPr sz="2826"/>
            </a:lvl7pPr>
            <a:lvl8pPr marL="9976483" indent="0">
              <a:buNone/>
              <a:defRPr sz="2826"/>
            </a:lvl8pPr>
            <a:lvl9pPr marL="11401696" indent="0">
              <a:buNone/>
              <a:defRPr sz="2826"/>
            </a:lvl9pPr>
          </a:lstStyle>
          <a:p>
            <a:pPr lvl="0"/>
            <a:r>
              <a:rPr lang="en-US"/>
              <a:t>Click to edit Master text styles</a:t>
            </a:r>
          </a:p>
        </p:txBody>
      </p:sp>
      <p:sp>
        <p:nvSpPr>
          <p:cNvPr id="5" name="Date Placeholder 4"/>
          <p:cNvSpPr>
            <a:spLocks noGrp="1"/>
          </p:cNvSpPr>
          <p:nvPr>
            <p:ph type="dt" sz="half" idx="10"/>
          </p:nvPr>
        </p:nvSpPr>
        <p:spPr/>
        <p:txBody>
          <a:bodyPr/>
          <a:lstStyle/>
          <a:p>
            <a:fld id="{360456FA-F14E-E942-9F6F-84EFD28CFFA1}" type="datetimeFigureOut">
              <a:rPr lang="en-US" smtClean="0"/>
              <a:t>4/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3369981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9878744" y="20160299"/>
            <a:ext cx="30239970" cy="2380037"/>
          </a:xfrm>
        </p:spPr>
        <p:txBody>
          <a:bodyPr anchor="b"/>
          <a:lstStyle>
            <a:lvl1pPr algn="l">
              <a:defRPr sz="6192" b="1"/>
            </a:lvl1pPr>
          </a:lstStyle>
          <a:p>
            <a:r>
              <a:rPr lang="en-US"/>
              <a:t>Click to edit Master title style</a:t>
            </a:r>
          </a:p>
        </p:txBody>
      </p:sp>
      <p:sp>
        <p:nvSpPr>
          <p:cNvPr id="3" name="Picture Placeholder 2"/>
          <p:cNvSpPr>
            <a:spLocks noGrp="1"/>
          </p:cNvSpPr>
          <p:nvPr>
            <p:ph type="pic" idx="1"/>
          </p:nvPr>
        </p:nvSpPr>
        <p:spPr>
          <a:xfrm>
            <a:off x="9878744" y="2573374"/>
            <a:ext cx="30239970" cy="17280255"/>
          </a:xfrm>
        </p:spPr>
        <p:txBody>
          <a:bodyPr/>
          <a:lstStyle>
            <a:lvl1pPr marL="0" indent="0">
              <a:buNone/>
              <a:defRPr sz="9960"/>
            </a:lvl1pPr>
            <a:lvl2pPr marL="1425212" indent="0">
              <a:buNone/>
              <a:defRPr sz="8749"/>
            </a:lvl2pPr>
            <a:lvl3pPr marL="2850425" indent="0">
              <a:buNone/>
              <a:defRPr sz="7537"/>
            </a:lvl3pPr>
            <a:lvl4pPr marL="4275636" indent="0">
              <a:buNone/>
              <a:defRPr sz="6192"/>
            </a:lvl4pPr>
            <a:lvl5pPr marL="5700847" indent="0">
              <a:buNone/>
              <a:defRPr sz="6192"/>
            </a:lvl5pPr>
            <a:lvl6pPr marL="7126058" indent="0">
              <a:buNone/>
              <a:defRPr sz="6192"/>
            </a:lvl6pPr>
            <a:lvl7pPr marL="8551271" indent="0">
              <a:buNone/>
              <a:defRPr sz="6192"/>
            </a:lvl7pPr>
            <a:lvl8pPr marL="9976483" indent="0">
              <a:buNone/>
              <a:defRPr sz="6192"/>
            </a:lvl8pPr>
            <a:lvl9pPr marL="11401696" indent="0">
              <a:buNone/>
              <a:defRPr sz="6192"/>
            </a:lvl9pPr>
          </a:lstStyle>
          <a:p>
            <a:endParaRPr lang="en-US"/>
          </a:p>
        </p:txBody>
      </p:sp>
      <p:sp>
        <p:nvSpPr>
          <p:cNvPr id="4" name="Text Placeholder 3"/>
          <p:cNvSpPr>
            <a:spLocks noGrp="1"/>
          </p:cNvSpPr>
          <p:nvPr>
            <p:ph type="body" sz="half" idx="2"/>
          </p:nvPr>
        </p:nvSpPr>
        <p:spPr>
          <a:xfrm>
            <a:off x="9878744" y="22540337"/>
            <a:ext cx="30239970" cy="3380048"/>
          </a:xfrm>
        </p:spPr>
        <p:txBody>
          <a:bodyPr/>
          <a:lstStyle>
            <a:lvl1pPr marL="0" indent="0">
              <a:buNone/>
              <a:defRPr sz="4442"/>
            </a:lvl1pPr>
            <a:lvl2pPr marL="1425212" indent="0">
              <a:buNone/>
              <a:defRPr sz="3769"/>
            </a:lvl2pPr>
            <a:lvl3pPr marL="2850425" indent="0">
              <a:buNone/>
              <a:defRPr sz="3096"/>
            </a:lvl3pPr>
            <a:lvl4pPr marL="4275636" indent="0">
              <a:buNone/>
              <a:defRPr sz="2826"/>
            </a:lvl4pPr>
            <a:lvl5pPr marL="5700847" indent="0">
              <a:buNone/>
              <a:defRPr sz="2826"/>
            </a:lvl5pPr>
            <a:lvl6pPr marL="7126058" indent="0">
              <a:buNone/>
              <a:defRPr sz="2826"/>
            </a:lvl6pPr>
            <a:lvl7pPr marL="8551271" indent="0">
              <a:buNone/>
              <a:defRPr sz="2826"/>
            </a:lvl7pPr>
            <a:lvl8pPr marL="9976483" indent="0">
              <a:buNone/>
              <a:defRPr sz="2826"/>
            </a:lvl8pPr>
            <a:lvl9pPr marL="11401696" indent="0">
              <a:buNone/>
              <a:defRPr sz="2826"/>
            </a:lvl9pPr>
          </a:lstStyle>
          <a:p>
            <a:pPr lvl="0"/>
            <a:r>
              <a:rPr lang="en-US"/>
              <a:t>Click to edit Master text styles</a:t>
            </a:r>
          </a:p>
        </p:txBody>
      </p:sp>
      <p:sp>
        <p:nvSpPr>
          <p:cNvPr id="5" name="Date Placeholder 4"/>
          <p:cNvSpPr>
            <a:spLocks noGrp="1"/>
          </p:cNvSpPr>
          <p:nvPr>
            <p:ph type="dt" sz="half" idx="10"/>
          </p:nvPr>
        </p:nvSpPr>
        <p:spPr/>
        <p:txBody>
          <a:bodyPr/>
          <a:lstStyle/>
          <a:p>
            <a:fld id="{360456FA-F14E-E942-9F6F-84EFD28CFFA1}" type="datetimeFigureOut">
              <a:rPr lang="en-US" smtClean="0"/>
              <a:t>4/18/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24E03A36-DDB1-F245-8959-EC2C41E68A28}" type="slidenum">
              <a:rPr lang="en-US" smtClean="0"/>
              <a:t>‹Nr.›</a:t>
            </a:fld>
            <a:endParaRPr lang="en-US"/>
          </a:p>
        </p:txBody>
      </p:sp>
    </p:spTree>
    <p:extLst>
      <p:ext uri="{BB962C8B-B14F-4D97-AF65-F5344CB8AC3E}">
        <p14:creationId xmlns:p14="http://schemas.microsoft.com/office/powerpoint/2010/main" val="34114083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5BB7F99-0B54-944B-73C6-58FA17E72168}"/>
              </a:ext>
            </a:extLst>
          </p:cNvPr>
          <p:cNvGraphicFramePr>
            <a:graphicFrameLocks noChangeAspect="1"/>
          </p:cNvGraphicFramePr>
          <p:nvPr userDrawn="1">
            <p:custDataLst>
              <p:tags r:id="rId13"/>
            </p:custDataLst>
            <p:extLst>
              <p:ext uri="{D42A27DB-BD31-4B8C-83A1-F6EECF244321}">
                <p14:modId xmlns:p14="http://schemas.microsoft.com/office/powerpoint/2010/main" val="670727997"/>
              </p:ext>
            </p:extLst>
          </p:nvPr>
        </p:nvGraphicFramePr>
        <p:xfrm>
          <a:off x="2646" y="2141"/>
          <a:ext cx="2645" cy="2137"/>
        </p:xfrm>
        <a:graphic>
          <a:graphicData uri="http://schemas.openxmlformats.org/presentationml/2006/ole">
            <mc:AlternateContent xmlns:mc="http://schemas.openxmlformats.org/markup-compatibility/2006">
              <mc:Choice xmlns:v="urn:schemas-microsoft-com:vml" Requires="v">
                <p:oleObj name="think-cell Slide" r:id="rId14" imgW="408" imgH="408" progId="TCLayout.ActiveDocument.1">
                  <p:embed/>
                </p:oleObj>
              </mc:Choice>
              <mc:Fallback>
                <p:oleObj name="think-cell Slide" r:id="rId14" imgW="408" imgH="408" progId="TCLayout.ActiveDocument.1">
                  <p:embed/>
                  <p:pic>
                    <p:nvPicPr>
                      <p:cNvPr id="8" name="Object 7" hidden="1">
                        <a:extLst>
                          <a:ext uri="{FF2B5EF4-FFF2-40B4-BE49-F238E27FC236}">
                            <a16:creationId xmlns:a16="http://schemas.microsoft.com/office/drawing/2014/main" id="{65BB7F99-0B54-944B-73C6-58FA17E72168}"/>
                          </a:ext>
                        </a:extLst>
                      </p:cNvPr>
                      <p:cNvPicPr/>
                      <p:nvPr/>
                    </p:nvPicPr>
                    <p:blipFill>
                      <a:blip r:embed="rId15"/>
                      <a:stretch>
                        <a:fillRect/>
                      </a:stretch>
                    </p:blipFill>
                    <p:spPr>
                      <a:xfrm>
                        <a:off x="2646" y="2141"/>
                        <a:ext cx="2645" cy="2137"/>
                      </a:xfrm>
                      <a:prstGeom prst="rect">
                        <a:avLst/>
                      </a:prstGeom>
                    </p:spPr>
                  </p:pic>
                </p:oleObj>
              </mc:Fallback>
            </mc:AlternateContent>
          </a:graphicData>
        </a:graphic>
      </p:graphicFrame>
      <p:sp>
        <p:nvSpPr>
          <p:cNvPr id="2" name="Title Placeholder 1"/>
          <p:cNvSpPr>
            <a:spLocks noGrp="1"/>
          </p:cNvSpPr>
          <p:nvPr>
            <p:ph type="title"/>
          </p:nvPr>
        </p:nvSpPr>
        <p:spPr>
          <a:xfrm>
            <a:off x="2520000" y="1153355"/>
            <a:ext cx="45359956" cy="4800070"/>
          </a:xfrm>
          <a:prstGeom prst="rect">
            <a:avLst/>
          </a:prstGeom>
        </p:spPr>
        <p:txBody>
          <a:bodyPr vert="horz" lIns="211777" tIns="105888" rIns="211777" bIns="105888" rtlCol="0" anchor="ctr">
            <a:normAutofit/>
          </a:bodyPr>
          <a:lstStyle/>
          <a:p>
            <a:r>
              <a:rPr lang="en-US"/>
              <a:t>Click to edit Master title style</a:t>
            </a:r>
          </a:p>
        </p:txBody>
      </p:sp>
      <p:sp>
        <p:nvSpPr>
          <p:cNvPr id="3" name="Text Placeholder 2"/>
          <p:cNvSpPr>
            <a:spLocks noGrp="1"/>
          </p:cNvSpPr>
          <p:nvPr>
            <p:ph type="body" idx="1"/>
          </p:nvPr>
        </p:nvSpPr>
        <p:spPr>
          <a:xfrm>
            <a:off x="2520000" y="6720102"/>
            <a:ext cx="45359956" cy="19006949"/>
          </a:xfrm>
          <a:prstGeom prst="rect">
            <a:avLst/>
          </a:prstGeom>
        </p:spPr>
        <p:txBody>
          <a:bodyPr vert="horz" lIns="211777" tIns="105888" rIns="211777" bIns="105888"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2519998" y="26693730"/>
            <a:ext cx="11759988" cy="1533356"/>
          </a:xfrm>
          <a:prstGeom prst="rect">
            <a:avLst/>
          </a:prstGeom>
        </p:spPr>
        <p:txBody>
          <a:bodyPr vert="horz" lIns="211777" tIns="105888" rIns="211777" bIns="105888" rtlCol="0" anchor="ctr"/>
          <a:lstStyle>
            <a:lvl1pPr algn="l">
              <a:defRPr sz="3769">
                <a:solidFill>
                  <a:schemeClr val="tx1">
                    <a:tint val="75000"/>
                  </a:schemeClr>
                </a:solidFill>
              </a:defRPr>
            </a:lvl1pPr>
          </a:lstStyle>
          <a:p>
            <a:fld id="{360456FA-F14E-E942-9F6F-84EFD28CFFA1}" type="datetimeFigureOut">
              <a:rPr lang="en-US" smtClean="0"/>
              <a:t>4/18/2023</a:t>
            </a:fld>
            <a:endParaRPr lang="en-US"/>
          </a:p>
        </p:txBody>
      </p:sp>
      <p:sp>
        <p:nvSpPr>
          <p:cNvPr id="5" name="Footer Placeholder 4"/>
          <p:cNvSpPr>
            <a:spLocks noGrp="1"/>
          </p:cNvSpPr>
          <p:nvPr>
            <p:ph type="ftr" sz="quarter" idx="3"/>
          </p:nvPr>
        </p:nvSpPr>
        <p:spPr>
          <a:xfrm>
            <a:off x="17219987" y="26693730"/>
            <a:ext cx="15959984" cy="1533356"/>
          </a:xfrm>
          <a:prstGeom prst="rect">
            <a:avLst/>
          </a:prstGeom>
        </p:spPr>
        <p:txBody>
          <a:bodyPr vert="horz" lIns="211777" tIns="105888" rIns="211777" bIns="105888" rtlCol="0" anchor="ctr"/>
          <a:lstStyle>
            <a:lvl1pPr algn="ctr">
              <a:defRPr sz="3769">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36119964" y="26693730"/>
            <a:ext cx="11759988" cy="1533356"/>
          </a:xfrm>
          <a:prstGeom prst="rect">
            <a:avLst/>
          </a:prstGeom>
        </p:spPr>
        <p:txBody>
          <a:bodyPr vert="horz" lIns="211777" tIns="105888" rIns="211777" bIns="105888" rtlCol="0" anchor="ctr"/>
          <a:lstStyle>
            <a:lvl1pPr algn="r">
              <a:defRPr sz="3769">
                <a:solidFill>
                  <a:schemeClr val="tx1">
                    <a:tint val="75000"/>
                  </a:schemeClr>
                </a:solidFill>
              </a:defRPr>
            </a:lvl1pPr>
          </a:lstStyle>
          <a:p>
            <a:fld id="{24E03A36-DDB1-F245-8959-EC2C41E68A28}" type="slidenum">
              <a:rPr lang="en-US" smtClean="0"/>
              <a:t>‹Nr.›</a:t>
            </a:fld>
            <a:endParaRPr lang="en-US"/>
          </a:p>
        </p:txBody>
      </p:sp>
    </p:spTree>
    <p:extLst>
      <p:ext uri="{BB962C8B-B14F-4D97-AF65-F5344CB8AC3E}">
        <p14:creationId xmlns:p14="http://schemas.microsoft.com/office/powerpoint/2010/main" val="26213493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1425212" rtl="0" eaLnBrk="1" latinLnBrk="0" hangingPunct="1">
        <a:spcBef>
          <a:spcPct val="0"/>
        </a:spcBef>
        <a:buNone/>
        <a:defRPr sz="13729" kern="1200">
          <a:solidFill>
            <a:schemeClr val="tx1"/>
          </a:solidFill>
          <a:latin typeface="+mj-lt"/>
          <a:ea typeface="+mj-ea"/>
          <a:cs typeface="+mj-cs"/>
        </a:defRPr>
      </a:lvl1pPr>
    </p:titleStyle>
    <p:bodyStyle>
      <a:lvl1pPr marL="1068908" indent="-1068908" algn="l" defTabSz="1425212" rtl="0" eaLnBrk="1" latinLnBrk="0" hangingPunct="1">
        <a:spcBef>
          <a:spcPct val="20000"/>
        </a:spcBef>
        <a:buFont typeface="Arial"/>
        <a:buChar char="•"/>
        <a:defRPr sz="9960" kern="1200">
          <a:solidFill>
            <a:schemeClr val="tx1"/>
          </a:solidFill>
          <a:latin typeface="+mn-lt"/>
          <a:ea typeface="+mn-ea"/>
          <a:cs typeface="+mn-cs"/>
        </a:defRPr>
      </a:lvl1pPr>
      <a:lvl2pPr marL="2315970" indent="-890758" algn="l" defTabSz="1425212" rtl="0" eaLnBrk="1" latinLnBrk="0" hangingPunct="1">
        <a:spcBef>
          <a:spcPct val="20000"/>
        </a:spcBef>
        <a:buFont typeface="Arial"/>
        <a:buChar char="–"/>
        <a:defRPr sz="8749" kern="1200">
          <a:solidFill>
            <a:schemeClr val="tx1"/>
          </a:solidFill>
          <a:latin typeface="+mn-lt"/>
          <a:ea typeface="+mn-ea"/>
          <a:cs typeface="+mn-cs"/>
        </a:defRPr>
      </a:lvl2pPr>
      <a:lvl3pPr marL="3563029" indent="-712605" algn="l" defTabSz="1425212" rtl="0" eaLnBrk="1" latinLnBrk="0" hangingPunct="1">
        <a:spcBef>
          <a:spcPct val="20000"/>
        </a:spcBef>
        <a:buFont typeface="Arial"/>
        <a:buChar char="•"/>
        <a:defRPr sz="7537" kern="1200">
          <a:solidFill>
            <a:schemeClr val="tx1"/>
          </a:solidFill>
          <a:latin typeface="+mn-lt"/>
          <a:ea typeface="+mn-ea"/>
          <a:cs typeface="+mn-cs"/>
        </a:defRPr>
      </a:lvl3pPr>
      <a:lvl4pPr marL="4988242" indent="-712605" algn="l" defTabSz="1425212" rtl="0" eaLnBrk="1" latinLnBrk="0" hangingPunct="1">
        <a:spcBef>
          <a:spcPct val="20000"/>
        </a:spcBef>
        <a:buFont typeface="Arial"/>
        <a:buChar char="–"/>
        <a:defRPr sz="6192" kern="1200">
          <a:solidFill>
            <a:schemeClr val="tx1"/>
          </a:solidFill>
          <a:latin typeface="+mn-lt"/>
          <a:ea typeface="+mn-ea"/>
          <a:cs typeface="+mn-cs"/>
        </a:defRPr>
      </a:lvl4pPr>
      <a:lvl5pPr marL="6413454" indent="-712605" algn="l" defTabSz="1425212" rtl="0" eaLnBrk="1" latinLnBrk="0" hangingPunct="1">
        <a:spcBef>
          <a:spcPct val="20000"/>
        </a:spcBef>
        <a:buFont typeface="Arial"/>
        <a:buChar char="»"/>
        <a:defRPr sz="6192" kern="1200">
          <a:solidFill>
            <a:schemeClr val="tx1"/>
          </a:solidFill>
          <a:latin typeface="+mn-lt"/>
          <a:ea typeface="+mn-ea"/>
          <a:cs typeface="+mn-cs"/>
        </a:defRPr>
      </a:lvl5pPr>
      <a:lvl6pPr marL="7838664" indent="-712605" algn="l" defTabSz="1425212" rtl="0" eaLnBrk="1" latinLnBrk="0" hangingPunct="1">
        <a:spcBef>
          <a:spcPct val="20000"/>
        </a:spcBef>
        <a:buFont typeface="Arial"/>
        <a:buChar char="•"/>
        <a:defRPr sz="6192" kern="1200">
          <a:solidFill>
            <a:schemeClr val="tx1"/>
          </a:solidFill>
          <a:latin typeface="+mn-lt"/>
          <a:ea typeface="+mn-ea"/>
          <a:cs typeface="+mn-cs"/>
        </a:defRPr>
      </a:lvl6pPr>
      <a:lvl7pPr marL="9263878" indent="-712605" algn="l" defTabSz="1425212" rtl="0" eaLnBrk="1" latinLnBrk="0" hangingPunct="1">
        <a:spcBef>
          <a:spcPct val="20000"/>
        </a:spcBef>
        <a:buFont typeface="Arial"/>
        <a:buChar char="•"/>
        <a:defRPr sz="6192" kern="1200">
          <a:solidFill>
            <a:schemeClr val="tx1"/>
          </a:solidFill>
          <a:latin typeface="+mn-lt"/>
          <a:ea typeface="+mn-ea"/>
          <a:cs typeface="+mn-cs"/>
        </a:defRPr>
      </a:lvl7pPr>
      <a:lvl8pPr marL="10689089" indent="-712605" algn="l" defTabSz="1425212" rtl="0" eaLnBrk="1" latinLnBrk="0" hangingPunct="1">
        <a:spcBef>
          <a:spcPct val="20000"/>
        </a:spcBef>
        <a:buFont typeface="Arial"/>
        <a:buChar char="•"/>
        <a:defRPr sz="6192" kern="1200">
          <a:solidFill>
            <a:schemeClr val="tx1"/>
          </a:solidFill>
          <a:latin typeface="+mn-lt"/>
          <a:ea typeface="+mn-ea"/>
          <a:cs typeface="+mn-cs"/>
        </a:defRPr>
      </a:lvl8pPr>
      <a:lvl9pPr marL="12114301" indent="-712605" algn="l" defTabSz="1425212" rtl="0" eaLnBrk="1" latinLnBrk="0" hangingPunct="1">
        <a:spcBef>
          <a:spcPct val="20000"/>
        </a:spcBef>
        <a:buFont typeface="Arial"/>
        <a:buChar char="•"/>
        <a:defRPr sz="6192" kern="1200">
          <a:solidFill>
            <a:schemeClr val="tx1"/>
          </a:solidFill>
          <a:latin typeface="+mn-lt"/>
          <a:ea typeface="+mn-ea"/>
          <a:cs typeface="+mn-cs"/>
        </a:defRPr>
      </a:lvl9pPr>
    </p:bodyStyle>
    <p:otherStyle>
      <a:defPPr>
        <a:defRPr lang="en-US"/>
      </a:defPPr>
      <a:lvl1pPr marL="0" algn="l" defTabSz="1425212" rtl="0" eaLnBrk="1" latinLnBrk="0" hangingPunct="1">
        <a:defRPr sz="5653" kern="1200">
          <a:solidFill>
            <a:schemeClr val="tx1"/>
          </a:solidFill>
          <a:latin typeface="+mn-lt"/>
          <a:ea typeface="+mn-ea"/>
          <a:cs typeface="+mn-cs"/>
        </a:defRPr>
      </a:lvl1pPr>
      <a:lvl2pPr marL="1425212" algn="l" defTabSz="1425212" rtl="0" eaLnBrk="1" latinLnBrk="0" hangingPunct="1">
        <a:defRPr sz="5653" kern="1200">
          <a:solidFill>
            <a:schemeClr val="tx1"/>
          </a:solidFill>
          <a:latin typeface="+mn-lt"/>
          <a:ea typeface="+mn-ea"/>
          <a:cs typeface="+mn-cs"/>
        </a:defRPr>
      </a:lvl2pPr>
      <a:lvl3pPr marL="2850425" algn="l" defTabSz="1425212" rtl="0" eaLnBrk="1" latinLnBrk="0" hangingPunct="1">
        <a:defRPr sz="5653" kern="1200">
          <a:solidFill>
            <a:schemeClr val="tx1"/>
          </a:solidFill>
          <a:latin typeface="+mn-lt"/>
          <a:ea typeface="+mn-ea"/>
          <a:cs typeface="+mn-cs"/>
        </a:defRPr>
      </a:lvl3pPr>
      <a:lvl4pPr marL="4275636" algn="l" defTabSz="1425212" rtl="0" eaLnBrk="1" latinLnBrk="0" hangingPunct="1">
        <a:defRPr sz="5653" kern="1200">
          <a:solidFill>
            <a:schemeClr val="tx1"/>
          </a:solidFill>
          <a:latin typeface="+mn-lt"/>
          <a:ea typeface="+mn-ea"/>
          <a:cs typeface="+mn-cs"/>
        </a:defRPr>
      </a:lvl4pPr>
      <a:lvl5pPr marL="5700847" algn="l" defTabSz="1425212" rtl="0" eaLnBrk="1" latinLnBrk="0" hangingPunct="1">
        <a:defRPr sz="5653" kern="1200">
          <a:solidFill>
            <a:schemeClr val="tx1"/>
          </a:solidFill>
          <a:latin typeface="+mn-lt"/>
          <a:ea typeface="+mn-ea"/>
          <a:cs typeface="+mn-cs"/>
        </a:defRPr>
      </a:lvl5pPr>
      <a:lvl6pPr marL="7126058" algn="l" defTabSz="1425212" rtl="0" eaLnBrk="1" latinLnBrk="0" hangingPunct="1">
        <a:defRPr sz="5653" kern="1200">
          <a:solidFill>
            <a:schemeClr val="tx1"/>
          </a:solidFill>
          <a:latin typeface="+mn-lt"/>
          <a:ea typeface="+mn-ea"/>
          <a:cs typeface="+mn-cs"/>
        </a:defRPr>
      </a:lvl6pPr>
      <a:lvl7pPr marL="8551271" algn="l" defTabSz="1425212" rtl="0" eaLnBrk="1" latinLnBrk="0" hangingPunct="1">
        <a:defRPr sz="5653" kern="1200">
          <a:solidFill>
            <a:schemeClr val="tx1"/>
          </a:solidFill>
          <a:latin typeface="+mn-lt"/>
          <a:ea typeface="+mn-ea"/>
          <a:cs typeface="+mn-cs"/>
        </a:defRPr>
      </a:lvl7pPr>
      <a:lvl8pPr marL="9976483" algn="l" defTabSz="1425212" rtl="0" eaLnBrk="1" latinLnBrk="0" hangingPunct="1">
        <a:defRPr sz="5653" kern="1200">
          <a:solidFill>
            <a:schemeClr val="tx1"/>
          </a:solidFill>
          <a:latin typeface="+mn-lt"/>
          <a:ea typeface="+mn-ea"/>
          <a:cs typeface="+mn-cs"/>
        </a:defRPr>
      </a:lvl8pPr>
      <a:lvl9pPr marL="11401696" algn="l" defTabSz="1425212" rtl="0" eaLnBrk="1" latinLnBrk="0" hangingPunct="1">
        <a:defRPr sz="5653"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4.png"/><Relationship Id="rId13" Type="http://schemas.openxmlformats.org/officeDocument/2006/relationships/image" Target="../media/image9.png"/><Relationship Id="rId18" Type="http://schemas.openxmlformats.org/officeDocument/2006/relationships/image" Target="../media/image14.svg"/><Relationship Id="rId3" Type="http://schemas.openxmlformats.org/officeDocument/2006/relationships/notesSlide" Target="../notesSlides/notesSlide1.xml"/><Relationship Id="rId21" Type="http://schemas.openxmlformats.org/officeDocument/2006/relationships/image" Target="../media/image17.png"/><Relationship Id="rId7" Type="http://schemas.openxmlformats.org/officeDocument/2006/relationships/image" Target="../media/image3.jpg"/><Relationship Id="rId12" Type="http://schemas.openxmlformats.org/officeDocument/2006/relationships/image" Target="../media/image8.png"/><Relationship Id="rId17" Type="http://schemas.openxmlformats.org/officeDocument/2006/relationships/image" Target="../media/image13.png"/><Relationship Id="rId25" Type="http://schemas.openxmlformats.org/officeDocument/2006/relationships/image" Target="../media/image21.png"/><Relationship Id="rId2" Type="http://schemas.openxmlformats.org/officeDocument/2006/relationships/slideLayout" Target="../slideLayouts/slideLayout1.xml"/><Relationship Id="rId16" Type="http://schemas.openxmlformats.org/officeDocument/2006/relationships/image" Target="../media/image12.png"/><Relationship Id="rId20" Type="http://schemas.openxmlformats.org/officeDocument/2006/relationships/image" Target="../media/image16.jpg"/><Relationship Id="rId1" Type="http://schemas.openxmlformats.org/officeDocument/2006/relationships/tags" Target="../tags/tag3.xml"/><Relationship Id="rId6" Type="http://schemas.openxmlformats.org/officeDocument/2006/relationships/image" Target="../media/image2.jpg"/><Relationship Id="rId11" Type="http://schemas.openxmlformats.org/officeDocument/2006/relationships/image" Target="../media/image7.png"/><Relationship Id="rId24" Type="http://schemas.openxmlformats.org/officeDocument/2006/relationships/image" Target="../media/image20.png"/><Relationship Id="rId5" Type="http://schemas.openxmlformats.org/officeDocument/2006/relationships/image" Target="../media/image1.emf"/><Relationship Id="rId15" Type="http://schemas.openxmlformats.org/officeDocument/2006/relationships/image" Target="../media/image11.png"/><Relationship Id="rId23" Type="http://schemas.openxmlformats.org/officeDocument/2006/relationships/image" Target="../media/image19.png"/><Relationship Id="rId10" Type="http://schemas.openxmlformats.org/officeDocument/2006/relationships/image" Target="../media/image6.png"/><Relationship Id="rId19" Type="http://schemas.openxmlformats.org/officeDocument/2006/relationships/image" Target="../media/image15.png"/><Relationship Id="rId4" Type="http://schemas.openxmlformats.org/officeDocument/2006/relationships/oleObject" Target="../embeddings/oleObject2.bin"/><Relationship Id="rId9" Type="http://schemas.openxmlformats.org/officeDocument/2006/relationships/image" Target="../media/image5.png"/><Relationship Id="rId14" Type="http://schemas.openxmlformats.org/officeDocument/2006/relationships/image" Target="../media/image10.png"/><Relationship Id="rId22"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7C76E84C-4095-79BD-AFDD-41697F99FD9C}"/>
              </a:ext>
            </a:extLst>
          </p:cNvPr>
          <p:cNvGraphicFramePr>
            <a:graphicFrameLocks noChangeAspect="1"/>
          </p:cNvGraphicFramePr>
          <p:nvPr>
            <p:custDataLst>
              <p:tags r:id="rId1"/>
            </p:custDataLst>
            <p:extLst>
              <p:ext uri="{D42A27DB-BD31-4B8C-83A1-F6EECF244321}">
                <p14:modId xmlns:p14="http://schemas.microsoft.com/office/powerpoint/2010/main" val="3689291070"/>
              </p:ext>
            </p:extLst>
          </p:nvPr>
        </p:nvGraphicFramePr>
        <p:xfrm>
          <a:off x="4831552" y="2139"/>
          <a:ext cx="2137" cy="2137"/>
        </p:xfrm>
        <a:graphic>
          <a:graphicData uri="http://schemas.openxmlformats.org/presentationml/2006/ole">
            <mc:AlternateContent xmlns:mc="http://schemas.openxmlformats.org/markup-compatibility/2006">
              <mc:Choice xmlns:v="urn:schemas-microsoft-com:vml" Requires="v">
                <p:oleObj name="think-cell Slide" r:id="rId4" imgW="408" imgH="408" progId="TCLayout.ActiveDocument.1">
                  <p:embed/>
                </p:oleObj>
              </mc:Choice>
              <mc:Fallback>
                <p:oleObj name="think-cell Slide" r:id="rId4" imgW="408" imgH="408" progId="TCLayout.ActiveDocument.1">
                  <p:embed/>
                  <p:pic>
                    <p:nvPicPr>
                      <p:cNvPr id="9" name="Object 8" hidden="1">
                        <a:extLst>
                          <a:ext uri="{FF2B5EF4-FFF2-40B4-BE49-F238E27FC236}">
                            <a16:creationId xmlns:a16="http://schemas.microsoft.com/office/drawing/2014/main" id="{7C76E84C-4095-79BD-AFDD-41697F99FD9C}"/>
                          </a:ext>
                        </a:extLst>
                      </p:cNvPr>
                      <p:cNvPicPr/>
                      <p:nvPr/>
                    </p:nvPicPr>
                    <p:blipFill>
                      <a:blip r:embed="rId5"/>
                      <a:stretch>
                        <a:fillRect/>
                      </a:stretch>
                    </p:blipFill>
                    <p:spPr>
                      <a:xfrm>
                        <a:off x="4831552" y="2139"/>
                        <a:ext cx="2137" cy="2137"/>
                      </a:xfrm>
                      <a:prstGeom prst="rect">
                        <a:avLst/>
                      </a:prstGeom>
                    </p:spPr>
                  </p:pic>
                </p:oleObj>
              </mc:Fallback>
            </mc:AlternateContent>
          </a:graphicData>
        </a:graphic>
      </p:graphicFrame>
      <p:pic>
        <p:nvPicPr>
          <p:cNvPr id="23" name="Picture 22" descr="top.jpg"/>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1"/>
            <a:ext cx="50399950" cy="4488221"/>
          </a:xfrm>
          <a:prstGeom prst="rect">
            <a:avLst/>
          </a:prstGeom>
        </p:spPr>
      </p:pic>
      <p:pic>
        <p:nvPicPr>
          <p:cNvPr id="24" name="Picture 23" descr="bottom.jpg"/>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0" y="26257582"/>
            <a:ext cx="50399949" cy="2542848"/>
          </a:xfrm>
          <a:prstGeom prst="rect">
            <a:avLst/>
          </a:prstGeom>
        </p:spPr>
      </p:pic>
      <p:sp>
        <p:nvSpPr>
          <p:cNvPr id="26" name="TextBox 25"/>
          <p:cNvSpPr txBox="1"/>
          <p:nvPr/>
        </p:nvSpPr>
        <p:spPr>
          <a:xfrm>
            <a:off x="6530815" y="118246"/>
            <a:ext cx="37775529" cy="2147660"/>
          </a:xfrm>
          <a:prstGeom prst="rect">
            <a:avLst/>
          </a:prstGeom>
          <a:noFill/>
        </p:spPr>
        <p:txBody>
          <a:bodyPr wrap="square" lIns="75584" tIns="37793" rIns="75584" bIns="37793" rtlCol="0">
            <a:spAutoFit/>
          </a:bodyPr>
          <a:lstStyle/>
          <a:p>
            <a:pPr algn="ctr"/>
            <a:r>
              <a:rPr lang="en-GB" sz="6730" b="1" dirty="0">
                <a:solidFill>
                  <a:schemeClr val="bg1"/>
                </a:solidFill>
              </a:rPr>
              <a:t>Assessing North Atlantic climate variability since the early 1800s through </a:t>
            </a:r>
          </a:p>
          <a:p>
            <a:pPr algn="ctr"/>
            <a:r>
              <a:rPr lang="en-GB" sz="6730" b="1" dirty="0">
                <a:solidFill>
                  <a:schemeClr val="bg1"/>
                </a:solidFill>
              </a:rPr>
              <a:t>historical New England whaling ship logbooks and reanalyses</a:t>
            </a:r>
            <a:endParaRPr lang="en-US" sz="6730" dirty="0">
              <a:solidFill>
                <a:schemeClr val="bg1"/>
              </a:solidFill>
            </a:endParaRPr>
          </a:p>
        </p:txBody>
      </p:sp>
      <p:pic>
        <p:nvPicPr>
          <p:cNvPr id="2" name="Picture 1"/>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983104" y="713581"/>
            <a:ext cx="2835733" cy="2850554"/>
          </a:xfrm>
          <a:prstGeom prst="rect">
            <a:avLst/>
          </a:prstGeom>
        </p:spPr>
      </p:pic>
      <p:sp>
        <p:nvSpPr>
          <p:cNvPr id="4" name="TextBox 3"/>
          <p:cNvSpPr txBox="1"/>
          <p:nvPr/>
        </p:nvSpPr>
        <p:spPr>
          <a:xfrm>
            <a:off x="6455422" y="2142057"/>
            <a:ext cx="37775524" cy="1915333"/>
          </a:xfrm>
          <a:prstGeom prst="rect">
            <a:avLst/>
          </a:prstGeom>
          <a:noFill/>
        </p:spPr>
        <p:txBody>
          <a:bodyPr wrap="square" rtlCol="0">
            <a:spAutoFit/>
          </a:bodyPr>
          <a:lstStyle/>
          <a:p>
            <a:pPr algn="ctr"/>
            <a:r>
              <a:rPr lang="en-US" sz="3769" dirty="0">
                <a:solidFill>
                  <a:schemeClr val="bg1"/>
                </a:solidFill>
              </a:rPr>
              <a:t> </a:t>
            </a:r>
            <a:r>
              <a:rPr lang="en-US" sz="4308" b="1" dirty="0">
                <a:solidFill>
                  <a:schemeClr val="bg1"/>
                </a:solidFill>
              </a:rPr>
              <a:t>Neele Sander</a:t>
            </a:r>
            <a:r>
              <a:rPr lang="en-US" sz="4308" b="1" baseline="30000" dirty="0">
                <a:solidFill>
                  <a:schemeClr val="bg1"/>
                </a:solidFill>
              </a:rPr>
              <a:t>1,2</a:t>
            </a:r>
            <a:r>
              <a:rPr lang="en-US" sz="4308" b="1" dirty="0">
                <a:solidFill>
                  <a:schemeClr val="bg1"/>
                </a:solidFill>
              </a:rPr>
              <a:t>, Caroline C. Ummenhofer</a:t>
            </a:r>
            <a:r>
              <a:rPr lang="en-US" sz="4308" b="1" baseline="30000" dirty="0">
                <a:solidFill>
                  <a:schemeClr val="bg1"/>
                </a:solidFill>
              </a:rPr>
              <a:t>2</a:t>
            </a:r>
            <a:r>
              <a:rPr lang="en-US" sz="4308" b="1" dirty="0">
                <a:solidFill>
                  <a:schemeClr val="bg1"/>
                </a:solidFill>
              </a:rPr>
              <a:t>, Bastian Münch</a:t>
            </a:r>
            <a:r>
              <a:rPr lang="en-US" sz="4308" b="1" baseline="30000" dirty="0">
                <a:solidFill>
                  <a:schemeClr val="bg1"/>
                </a:solidFill>
              </a:rPr>
              <a:t>3</a:t>
            </a:r>
            <a:r>
              <a:rPr lang="en-US" sz="4308" b="1" dirty="0">
                <a:solidFill>
                  <a:schemeClr val="bg1"/>
                </a:solidFill>
              </a:rPr>
              <a:t>, Timothy D. Walker</a:t>
            </a:r>
            <a:r>
              <a:rPr lang="en-US" sz="4308" b="1" baseline="30000" dirty="0">
                <a:solidFill>
                  <a:schemeClr val="bg1"/>
                </a:solidFill>
              </a:rPr>
              <a:t>2,4</a:t>
            </a:r>
          </a:p>
          <a:p>
            <a:pPr algn="ctr"/>
            <a:r>
              <a:rPr lang="en-US" sz="3769" baseline="30000" dirty="0">
                <a:solidFill>
                  <a:schemeClr val="bg1"/>
                </a:solidFill>
              </a:rPr>
              <a:t>1</a:t>
            </a:r>
            <a:r>
              <a:rPr lang="en-US" sz="3769" dirty="0">
                <a:solidFill>
                  <a:schemeClr val="bg1"/>
                </a:solidFill>
              </a:rPr>
              <a:t>Christian-Albrechts-Universität </a:t>
            </a:r>
            <a:r>
              <a:rPr lang="en-US" sz="3769" dirty="0" err="1">
                <a:solidFill>
                  <a:schemeClr val="bg1"/>
                </a:solidFill>
              </a:rPr>
              <a:t>zu</a:t>
            </a:r>
            <a:r>
              <a:rPr lang="en-US" sz="3769" dirty="0">
                <a:solidFill>
                  <a:schemeClr val="bg1"/>
                </a:solidFill>
              </a:rPr>
              <a:t> Kiel, </a:t>
            </a:r>
            <a:r>
              <a:rPr lang="en-US" sz="3769" dirty="0" err="1">
                <a:solidFill>
                  <a:schemeClr val="bg1"/>
                </a:solidFill>
              </a:rPr>
              <a:t>Geomar</a:t>
            </a:r>
            <a:r>
              <a:rPr lang="en-US" sz="3769" dirty="0">
                <a:solidFill>
                  <a:schemeClr val="bg1"/>
                </a:solidFill>
              </a:rPr>
              <a:t> Helmholtz-Center for Ocean Research, Kiel, Germany; </a:t>
            </a:r>
            <a:r>
              <a:rPr lang="en-US" sz="3769" baseline="30000" dirty="0">
                <a:solidFill>
                  <a:schemeClr val="bg1"/>
                </a:solidFill>
              </a:rPr>
              <a:t>2</a:t>
            </a:r>
            <a:r>
              <a:rPr lang="en-US" sz="3769" dirty="0">
                <a:solidFill>
                  <a:schemeClr val="bg1"/>
                </a:solidFill>
              </a:rPr>
              <a:t>Department of Physical Oceanography, Woods Hole Oceanographic Institution, Woods Hole, MA, USA; </a:t>
            </a:r>
            <a:r>
              <a:rPr lang="en-US" sz="3769" baseline="30000" dirty="0">
                <a:solidFill>
                  <a:schemeClr val="bg1"/>
                </a:solidFill>
              </a:rPr>
              <a:t>3</a:t>
            </a:r>
            <a:r>
              <a:rPr lang="en-US" sz="3769" dirty="0">
                <a:solidFill>
                  <a:schemeClr val="bg1"/>
                </a:solidFill>
              </a:rPr>
              <a:t>University of Delaware, DE, USA; </a:t>
            </a:r>
            <a:r>
              <a:rPr lang="en-US" sz="3769" baseline="30000" dirty="0">
                <a:solidFill>
                  <a:schemeClr val="bg1"/>
                </a:solidFill>
              </a:rPr>
              <a:t>4</a:t>
            </a:r>
            <a:r>
              <a:rPr lang="en-US" sz="3769" dirty="0">
                <a:solidFill>
                  <a:schemeClr val="bg1"/>
                </a:solidFill>
              </a:rPr>
              <a:t>Department of History, University of Massachusetts Dartmouth, North Dartmouth, MA, USA</a:t>
            </a:r>
          </a:p>
        </p:txBody>
      </p:sp>
      <p:sp>
        <p:nvSpPr>
          <p:cNvPr id="81" name="TextBox 80"/>
          <p:cNvSpPr txBox="1"/>
          <p:nvPr/>
        </p:nvSpPr>
        <p:spPr>
          <a:xfrm>
            <a:off x="9309523" y="26296872"/>
            <a:ext cx="20713787" cy="2318926"/>
          </a:xfrm>
          <a:prstGeom prst="rect">
            <a:avLst/>
          </a:prstGeom>
          <a:noFill/>
        </p:spPr>
        <p:txBody>
          <a:bodyPr wrap="square" lIns="75584" tIns="37793" rIns="75584" bIns="37793" rtlCol="0">
            <a:spAutoFit/>
          </a:bodyPr>
          <a:lstStyle/>
          <a:p>
            <a:r>
              <a:rPr lang="en-US" sz="7033" dirty="0">
                <a:solidFill>
                  <a:schemeClr val="bg1"/>
                </a:solidFill>
                <a:latin typeface="Red Hat Display" panose="02010503040201060303"/>
              </a:rPr>
              <a:t>Acknowledgments</a:t>
            </a:r>
          </a:p>
          <a:p>
            <a:pPr algn="just">
              <a:spcAft>
                <a:spcPts val="992"/>
              </a:spcAft>
            </a:pPr>
            <a:r>
              <a:rPr lang="en-US" sz="1885" dirty="0">
                <a:solidFill>
                  <a:schemeClr val="bg1"/>
                </a:solidFill>
                <a:latin typeface="Red Hat Display" panose="02010503040201060303"/>
              </a:rPr>
              <a:t>Use of the following datasets is gratefully acknowledged: </a:t>
            </a:r>
            <a:r>
              <a:rPr lang="en-GB" sz="1885" dirty="0">
                <a:solidFill>
                  <a:schemeClr val="bg1"/>
                </a:solidFill>
                <a:latin typeface="Red Hat Display" panose="02010503040201060303"/>
              </a:rPr>
              <a:t>Twentieth Century Reanalysis Project v3, supported by the U.S. Department of Energy, Office of Science Biological and Environmental Research (BER), by the National Oceanic and Atmospheric Administration Climate Program Office, and by the NOAA Earth System Research Laboratory Physical Sciences Laboratory, </a:t>
            </a:r>
            <a:r>
              <a:rPr lang="en-US" sz="1885" dirty="0">
                <a:solidFill>
                  <a:schemeClr val="bg1"/>
                </a:solidFill>
                <a:latin typeface="Red Hat Display" panose="02010503040201060303"/>
              </a:rPr>
              <a:t>accessed through the WHOI CMIP5 Community Storage Server, WHOI, Woods Hole, MA, USA from their website at http://cmip5.whoi.edu.</a:t>
            </a:r>
            <a:r>
              <a:rPr lang="en-GB" sz="1885" dirty="0">
                <a:solidFill>
                  <a:schemeClr val="bg1"/>
                </a:solidFill>
                <a:latin typeface="Red Hat Display" panose="02010503040201060303"/>
              </a:rPr>
              <a:t> NS acknowledges support by the German </a:t>
            </a:r>
            <a:r>
              <a:rPr lang="en-GB" sz="1885">
                <a:solidFill>
                  <a:schemeClr val="bg1"/>
                </a:solidFill>
                <a:latin typeface="Red Hat Display" panose="02010503040201060303"/>
              </a:rPr>
              <a:t>Academic Exchange </a:t>
            </a:r>
            <a:r>
              <a:rPr lang="en-GB" sz="1885" dirty="0">
                <a:solidFill>
                  <a:schemeClr val="bg1"/>
                </a:solidFill>
                <a:latin typeface="Red Hat Display" panose="02010503040201060303"/>
              </a:rPr>
              <a:t>Service (DAAD) through a RISE scholarship; CCU and TDW acknowledge support by the U.S. National Science Foundation through BCS-1852647, the Heinz Family Foundation, and FM Global.</a:t>
            </a:r>
            <a:endParaRPr lang="fr-FR" sz="1885" dirty="0">
              <a:solidFill>
                <a:schemeClr val="bg1"/>
              </a:solidFill>
              <a:latin typeface="Red Hat Display" panose="02010503040201060303"/>
            </a:endParaRPr>
          </a:p>
        </p:txBody>
      </p:sp>
      <p:pic>
        <p:nvPicPr>
          <p:cNvPr id="16" name="Picture 15" descr="Text&#10;&#10;Description automatically generated with medium confidence">
            <a:extLst>
              <a:ext uri="{FF2B5EF4-FFF2-40B4-BE49-F238E27FC236}">
                <a16:creationId xmlns:a16="http://schemas.microsoft.com/office/drawing/2014/main" id="{E5AB23B4-DB04-02B7-3B9A-BBE0C3503001}"/>
              </a:ext>
            </a:extLst>
          </p:cNvPr>
          <p:cNvPicPr>
            <a:picLocks noChangeAspect="1"/>
          </p:cNvPicPr>
          <p:nvPr/>
        </p:nvPicPr>
        <p:blipFill>
          <a:blip r:embed="rId9"/>
          <a:stretch>
            <a:fillRect/>
          </a:stretch>
        </p:blipFill>
        <p:spPr>
          <a:xfrm>
            <a:off x="42120025" y="26760086"/>
            <a:ext cx="6716872" cy="1642307"/>
          </a:xfrm>
          <a:prstGeom prst="rect">
            <a:avLst/>
          </a:prstGeom>
        </p:spPr>
      </p:pic>
      <p:cxnSp>
        <p:nvCxnSpPr>
          <p:cNvPr id="34" name="Straight Connector 19">
            <a:extLst>
              <a:ext uri="{FF2B5EF4-FFF2-40B4-BE49-F238E27FC236}">
                <a16:creationId xmlns:a16="http://schemas.microsoft.com/office/drawing/2014/main" id="{B31DC192-F63F-0499-9308-C31D74C5D071}"/>
              </a:ext>
            </a:extLst>
          </p:cNvPr>
          <p:cNvCxnSpPr>
            <a:cxnSpLocks/>
          </p:cNvCxnSpPr>
          <p:nvPr/>
        </p:nvCxnSpPr>
        <p:spPr>
          <a:xfrm flipV="1">
            <a:off x="1778363" y="11123124"/>
            <a:ext cx="10487637" cy="64478"/>
          </a:xfrm>
          <a:prstGeom prst="line">
            <a:avLst/>
          </a:prstGeom>
          <a:ln w="444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5" name="Straight Connector 16">
            <a:extLst>
              <a:ext uri="{FF2B5EF4-FFF2-40B4-BE49-F238E27FC236}">
                <a16:creationId xmlns:a16="http://schemas.microsoft.com/office/drawing/2014/main" id="{88DDA7A8-D059-48AD-8BE2-47C84C3E73ED}"/>
              </a:ext>
            </a:extLst>
          </p:cNvPr>
          <p:cNvCxnSpPr>
            <a:cxnSpLocks/>
          </p:cNvCxnSpPr>
          <p:nvPr/>
        </p:nvCxnSpPr>
        <p:spPr>
          <a:xfrm>
            <a:off x="25357828" y="4845096"/>
            <a:ext cx="0" cy="20733179"/>
          </a:xfrm>
          <a:prstGeom prst="line">
            <a:avLst/>
          </a:prstGeom>
          <a:ln w="444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6" name="Straight Connector 19">
            <a:extLst>
              <a:ext uri="{FF2B5EF4-FFF2-40B4-BE49-F238E27FC236}">
                <a16:creationId xmlns:a16="http://schemas.microsoft.com/office/drawing/2014/main" id="{367DC1F2-155B-A045-CC53-0FFA83F0950D}"/>
              </a:ext>
            </a:extLst>
          </p:cNvPr>
          <p:cNvCxnSpPr>
            <a:cxnSpLocks/>
          </p:cNvCxnSpPr>
          <p:nvPr/>
        </p:nvCxnSpPr>
        <p:spPr>
          <a:xfrm>
            <a:off x="38261684" y="15921815"/>
            <a:ext cx="10575213" cy="67083"/>
          </a:xfrm>
          <a:prstGeom prst="line">
            <a:avLst/>
          </a:prstGeom>
          <a:ln w="44450">
            <a:solidFill>
              <a:schemeClr val="tx2"/>
            </a:solidFill>
          </a:ln>
          <a:effectLst/>
        </p:spPr>
        <p:style>
          <a:lnRef idx="2">
            <a:schemeClr val="accent1"/>
          </a:lnRef>
          <a:fillRef idx="0">
            <a:schemeClr val="accent1"/>
          </a:fillRef>
          <a:effectRef idx="1">
            <a:schemeClr val="accent1"/>
          </a:effectRef>
          <a:fontRef idx="minor">
            <a:schemeClr val="tx1"/>
          </a:fontRef>
        </p:style>
      </p:cxnSp>
      <p:cxnSp>
        <p:nvCxnSpPr>
          <p:cNvPr id="38" name="Straight Connector 15">
            <a:extLst>
              <a:ext uri="{FF2B5EF4-FFF2-40B4-BE49-F238E27FC236}">
                <a16:creationId xmlns:a16="http://schemas.microsoft.com/office/drawing/2014/main" id="{A851C76D-D058-8AD7-2DE6-09522559CAF1}"/>
              </a:ext>
            </a:extLst>
          </p:cNvPr>
          <p:cNvCxnSpPr>
            <a:cxnSpLocks/>
          </p:cNvCxnSpPr>
          <p:nvPr/>
        </p:nvCxnSpPr>
        <p:spPr>
          <a:xfrm>
            <a:off x="12885669" y="4845096"/>
            <a:ext cx="0" cy="20733179"/>
          </a:xfrm>
          <a:prstGeom prst="line">
            <a:avLst/>
          </a:prstGeom>
          <a:ln w="444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43" name="TextBox 11">
            <a:extLst>
              <a:ext uri="{FF2B5EF4-FFF2-40B4-BE49-F238E27FC236}">
                <a16:creationId xmlns:a16="http://schemas.microsoft.com/office/drawing/2014/main" id="{6A4DE8DC-74A1-98D6-B154-A57185396862}"/>
              </a:ext>
            </a:extLst>
          </p:cNvPr>
          <p:cNvSpPr txBox="1"/>
          <p:nvPr/>
        </p:nvSpPr>
        <p:spPr>
          <a:xfrm>
            <a:off x="1803295" y="4989430"/>
            <a:ext cx="10444501" cy="5915466"/>
          </a:xfrm>
          <a:prstGeom prst="rect">
            <a:avLst/>
          </a:prstGeom>
          <a:noFill/>
        </p:spPr>
        <p:txBody>
          <a:bodyPr wrap="square" rtlCol="0">
            <a:spAutoFit/>
          </a:bodyPr>
          <a:lstStyle/>
          <a:p>
            <a:pPr algn="just"/>
            <a:r>
              <a:rPr lang="en-US" sz="5949" b="1" dirty="0">
                <a:solidFill>
                  <a:schemeClr val="tx2"/>
                </a:solidFill>
                <a:latin typeface="Red Hat Display" panose="02010503040201060303" pitchFamily="2" charset="77"/>
              </a:rPr>
              <a:t>ABSTRACT</a:t>
            </a:r>
          </a:p>
          <a:p>
            <a:pPr algn="just">
              <a:lnSpc>
                <a:spcPct val="107000"/>
              </a:lnSpc>
              <a:spcAft>
                <a:spcPts val="703"/>
              </a:spcAft>
            </a:pPr>
            <a:r>
              <a:rPr lang="en-GB" sz="1758" dirty="0">
                <a:latin typeface="Red Hat Display" panose="02010503040201060303"/>
                <a:ea typeface="Calibri" panose="020F0502020204030204" pitchFamily="34" charset="0"/>
                <a:cs typeface="Times New Roman" panose="02020603050405020304" pitchFamily="18" charset="0"/>
              </a:rPr>
              <a:t>Historical wind patterns in the North Atlantic</a:t>
            </a:r>
            <a:r>
              <a:rPr lang="en-GB" sz="1758" dirty="0">
                <a:latin typeface="Red Hat Display" panose="02010503040201060303"/>
                <a:ea typeface="Calibri" panose="020F0502020204030204" pitchFamily="34" charset="0"/>
                <a:cs typeface="Calibri" panose="020F0502020204030204" pitchFamily="34" charset="0"/>
              </a:rPr>
              <a:t> </a:t>
            </a:r>
            <a:r>
              <a:rPr lang="en-US" sz="1758" dirty="0">
                <a:latin typeface="Red Hat Display" panose="02010503040201060303"/>
                <a:ea typeface="Calibri" panose="020F0502020204030204" pitchFamily="34" charset="0"/>
                <a:cs typeface="Calibri" panose="020F0502020204030204" pitchFamily="34" charset="0"/>
              </a:rPr>
              <a:t>are assessed using </a:t>
            </a:r>
            <a:r>
              <a:rPr lang="en-DE" sz="1758" dirty="0">
                <a:latin typeface="Red Hat Display" panose="02010503040201060303"/>
                <a:ea typeface="Calibri" panose="020F0502020204030204" pitchFamily="34" charset="0"/>
                <a:cs typeface="Calibri" panose="020F0502020204030204" pitchFamily="34" charset="0"/>
              </a:rPr>
              <a:t>U.S. whaling logbooks of voyages</a:t>
            </a:r>
            <a:r>
              <a:rPr lang="en-DE" sz="1758" dirty="0">
                <a:latin typeface="Red Hat Display" panose="02010503040201060303"/>
                <a:ea typeface="Calibri" panose="020F0502020204030204" pitchFamily="34" charset="0"/>
                <a:cs typeface="Times New Roman" panose="02020603050405020304" pitchFamily="18" charset="0"/>
              </a:rPr>
              <a:t> </a:t>
            </a:r>
            <a:r>
              <a:rPr lang="en-GB" sz="1758" dirty="0">
                <a:latin typeface="Red Hat Display" panose="02010503040201060303"/>
                <a:ea typeface="Calibri" panose="020F0502020204030204" pitchFamily="34" charset="0"/>
                <a:cs typeface="Times New Roman" panose="02020603050405020304" pitchFamily="18" charset="0"/>
              </a:rPr>
              <a:t>from the 19th century, a time when instrumental wind observations were not widely available. The recordings from whaling ship logbooks provide systematic daily to sub-daily information about wind force, wind direction, and other weather observations (e.g., precipitation, sea state) over a period from ca. 1785-1915 and are housed in the New England archives by the New Bedford Whaling Museum, Nantucket Historical Association, and Providence Public Library. The extracted data from the whaling logbooks is quality checked, and the qualitative wind descriptions are transferred to the Beaufort wind force scale to better compare it to the 20</a:t>
            </a:r>
            <a:r>
              <a:rPr lang="en-GB" sz="1758" baseline="30000" dirty="0">
                <a:latin typeface="Red Hat Display" panose="02010503040201060303"/>
                <a:ea typeface="Calibri" panose="020F0502020204030204" pitchFamily="34" charset="0"/>
                <a:cs typeface="Times New Roman" panose="02020603050405020304" pitchFamily="18" charset="0"/>
              </a:rPr>
              <a:t>th</a:t>
            </a:r>
            <a:r>
              <a:rPr lang="en-GB" sz="1758" dirty="0">
                <a:latin typeface="Red Hat Display" panose="02010503040201060303"/>
                <a:ea typeface="Calibri" panose="020F0502020204030204" pitchFamily="34" charset="0"/>
                <a:cs typeface="Times New Roman" panose="02020603050405020304" pitchFamily="18" charset="0"/>
              </a:rPr>
              <a:t>-Century-Reanalysis (20CR).  Specifically, the whaling ship logbook-sourced wind recordings are used in conjunction with several indices of North Atlantic climate variability, such as North Atlantic Oscillation (NAO), to</a:t>
            </a:r>
            <a:r>
              <a:rPr lang="en-GB" sz="1758" dirty="0">
                <a:solidFill>
                  <a:srgbClr val="FF0000"/>
                </a:solidFill>
                <a:latin typeface="Red Hat Display" panose="02010503040201060303"/>
                <a:ea typeface="Calibri" panose="020F0502020204030204" pitchFamily="34" charset="0"/>
                <a:cs typeface="Times New Roman" panose="02020603050405020304" pitchFamily="18" charset="0"/>
              </a:rPr>
              <a:t> </a:t>
            </a:r>
            <a:r>
              <a:rPr lang="en-GB" sz="1758" dirty="0">
                <a:latin typeface="Red Hat Display" panose="02010503040201060303"/>
                <a:ea typeface="Calibri" panose="020F0502020204030204" pitchFamily="34" charset="0"/>
                <a:cs typeface="Times New Roman" panose="02020603050405020304" pitchFamily="18" charset="0"/>
              </a:rPr>
              <a:t>explore variations and changes in predominant North Atlantic wind patterns in the past. Here we demonstrate that the wind data from the whaling ship logbooks agrees with mean wind patterns and climate variability reconstructed for the North Atlantic and therefore provides valuable insights into the past wind patterns in this area complementing existing reanalysis products. We further demonstrate how qualitative descriptive wind information can be turned into quantitative information that can be directly compared with numerical data from reanalysis models. Since the comparison of the historical logbook data with 20CR data shows overall good agreement, it can be used to gain a further understanding of the dominant climate patterns in the North Atlantic and might aid the development of improved indices of North Atlantic climate variability, such as the NAO.</a:t>
            </a:r>
            <a:endParaRPr lang="fr-FR" sz="2450" baseline="30000" dirty="0">
              <a:latin typeface="Red Hat Display" panose="02010503040201060303" pitchFamily="2" charset="77"/>
            </a:endParaRPr>
          </a:p>
        </p:txBody>
      </p:sp>
      <p:sp>
        <p:nvSpPr>
          <p:cNvPr id="66" name="TextBox 14">
            <a:extLst>
              <a:ext uri="{FF2B5EF4-FFF2-40B4-BE49-F238E27FC236}">
                <a16:creationId xmlns:a16="http://schemas.microsoft.com/office/drawing/2014/main" id="{59DADFF6-1BCA-3233-A612-60AF6B046701}"/>
              </a:ext>
            </a:extLst>
          </p:cNvPr>
          <p:cNvSpPr txBox="1"/>
          <p:nvPr/>
        </p:nvSpPr>
        <p:spPr>
          <a:xfrm>
            <a:off x="13847994" y="5183324"/>
            <a:ext cx="10301439" cy="5552161"/>
          </a:xfrm>
          <a:prstGeom prst="rect">
            <a:avLst/>
          </a:prstGeom>
          <a:noFill/>
        </p:spPr>
        <p:txBody>
          <a:bodyPr wrap="square" rtlCol="0">
            <a:spAutoFit/>
          </a:bodyPr>
          <a:lstStyle/>
          <a:p>
            <a:pPr algn="just"/>
            <a:r>
              <a:rPr lang="en-US" sz="5949" b="1" dirty="0">
                <a:solidFill>
                  <a:schemeClr val="tx2"/>
                </a:solidFill>
                <a:latin typeface="Red Hat Display" panose="02010503040201060303" pitchFamily="2" charset="77"/>
              </a:rPr>
              <a:t>RESULTS</a:t>
            </a:r>
          </a:p>
          <a:p>
            <a:pPr marL="452155" indent="-452155" algn="just">
              <a:buAutoNum type="arabicPeriod"/>
            </a:pPr>
            <a:r>
              <a:rPr lang="en-US" sz="2461" b="1" dirty="0">
                <a:solidFill>
                  <a:schemeClr val="tx2"/>
                </a:solidFill>
                <a:latin typeface="Red Hat Display" panose="02010503040201060303" pitchFamily="2" charset="77"/>
              </a:rPr>
              <a:t>Monthly</a:t>
            </a:r>
          </a:p>
          <a:p>
            <a:pPr marL="452155" indent="-452155" algn="just">
              <a:buFont typeface="Arial" panose="020B0604020202020204" pitchFamily="34" charset="0"/>
              <a:buChar char="•"/>
            </a:pPr>
            <a:r>
              <a:rPr lang="en-US" sz="2461" dirty="0">
                <a:latin typeface="Red Hat Display" panose="02010503040201060303" pitchFamily="2" charset="77"/>
              </a:rPr>
              <a:t>Almost 5000 daily maritime weather records from the historical whaling ship logbooks in the North Atlantic and 60,000 worldwide</a:t>
            </a:r>
          </a:p>
          <a:p>
            <a:pPr marL="452155" indent="-452155" algn="just">
              <a:buFont typeface="Arial" panose="020B0604020202020204" pitchFamily="34" charset="0"/>
              <a:buChar char="•"/>
            </a:pPr>
            <a:r>
              <a:rPr lang="en-US" sz="2461" dirty="0">
                <a:latin typeface="Red Hat Display" panose="02010503040201060303" pitchFamily="2" charset="77"/>
              </a:rPr>
              <a:t>Number of records depends on season: more records in summer &amp; fall, fewer in winter and spring</a:t>
            </a:r>
          </a:p>
          <a:p>
            <a:pPr marL="452155" indent="-452155" algn="just">
              <a:buFont typeface="Arial" panose="020B0604020202020204" pitchFamily="34" charset="0"/>
              <a:buChar char="•"/>
            </a:pPr>
            <a:r>
              <a:rPr lang="en-GB" sz="2461" dirty="0">
                <a:latin typeface="Red Hat Display" panose="02010503040201060303" pitchFamily="2" charset="77"/>
              </a:rPr>
              <a:t>Wind speeds in whaling records in winter and spring higher than in other seasons (Figure 2a); partly consistent with reanalysis data</a:t>
            </a:r>
          </a:p>
          <a:p>
            <a:pPr marL="452155" indent="-452155" algn="just">
              <a:buFont typeface="Arial" panose="020B0604020202020204" pitchFamily="34" charset="0"/>
              <a:buChar char="•"/>
            </a:pPr>
            <a:r>
              <a:rPr lang="en-GB" sz="2461" dirty="0">
                <a:latin typeface="Red Hat Display" panose="02010503040201060303" pitchFamily="2" charset="77"/>
              </a:rPr>
              <a:t>Wide windspeed spread in whalers’ data, as they reflect individual daily records (Figure 2b); in contrast, reanalysis of wind speed data approximates a normal distribution for monthly ensemble mean</a:t>
            </a:r>
          </a:p>
          <a:p>
            <a:pPr algn="just"/>
            <a:r>
              <a:rPr lang="en-GB" sz="2461" b="1" dirty="0">
                <a:solidFill>
                  <a:schemeClr val="tx2"/>
                </a:solidFill>
                <a:latin typeface="Red Hat Display" panose="02010503040201060303" pitchFamily="2" charset="77"/>
                <a:sym typeface="Wingdings" panose="05000000000000000000" pitchFamily="2" charset="2"/>
              </a:rPr>
              <a:t></a:t>
            </a:r>
            <a:r>
              <a:rPr lang="en-GB" sz="2461" b="1" dirty="0">
                <a:solidFill>
                  <a:schemeClr val="tx2"/>
                </a:solidFill>
                <a:latin typeface="Red Hat Display" panose="02010503040201060303" pitchFamily="2" charset="77"/>
              </a:rPr>
              <a:t> need to be careful when comparing the whalers’ data to monthly reanalysis data</a:t>
            </a:r>
          </a:p>
        </p:txBody>
      </p:sp>
      <p:sp>
        <p:nvSpPr>
          <p:cNvPr id="87" name="TextBox 14">
            <a:extLst>
              <a:ext uri="{FF2B5EF4-FFF2-40B4-BE49-F238E27FC236}">
                <a16:creationId xmlns:a16="http://schemas.microsoft.com/office/drawing/2014/main" id="{4E4CF04D-242B-884A-90E8-1247A5BD4951}"/>
              </a:ext>
            </a:extLst>
          </p:cNvPr>
          <p:cNvSpPr txBox="1"/>
          <p:nvPr/>
        </p:nvSpPr>
        <p:spPr>
          <a:xfrm>
            <a:off x="26340178" y="5970185"/>
            <a:ext cx="10768020" cy="4636654"/>
          </a:xfrm>
          <a:prstGeom prst="rect">
            <a:avLst/>
          </a:prstGeom>
          <a:noFill/>
        </p:spPr>
        <p:txBody>
          <a:bodyPr wrap="square" rtlCol="0">
            <a:spAutoFit/>
          </a:bodyPr>
          <a:lstStyle/>
          <a:p>
            <a:pPr algn="just"/>
            <a:r>
              <a:rPr lang="en-US" sz="2461" b="1" dirty="0">
                <a:solidFill>
                  <a:schemeClr val="tx2"/>
                </a:solidFill>
                <a:latin typeface="Red Hat Display" panose="02010503040201060303" pitchFamily="2" charset="77"/>
              </a:rPr>
              <a:t>2.   Daily</a:t>
            </a:r>
          </a:p>
          <a:p>
            <a:pPr marL="452155" indent="-452155" algn="just">
              <a:buFont typeface="Arial" panose="020B0604020202020204" pitchFamily="34" charset="0"/>
              <a:buChar char="•"/>
            </a:pPr>
            <a:r>
              <a:rPr lang="en-US" sz="2461" dirty="0">
                <a:latin typeface="Red Hat Display" panose="02010503040201060303" pitchFamily="2" charset="77"/>
              </a:rPr>
              <a:t>Only used data points from the reanalysis, which correspond to the whalers’ data in location and time</a:t>
            </a:r>
          </a:p>
          <a:p>
            <a:pPr marL="1964425" lvl="1" indent="-452155" algn="just">
              <a:buFont typeface="Courier New" panose="02070309020205020404" pitchFamily="49" charset="0"/>
              <a:buChar char="o"/>
            </a:pPr>
            <a:r>
              <a:rPr lang="en-US" sz="2461" dirty="0">
                <a:latin typeface="Red Hat Display" panose="02010503040201060303" pitchFamily="2" charset="77"/>
              </a:rPr>
              <a:t>Both datasets have a similar spread and median (Figure 3a)</a:t>
            </a:r>
          </a:p>
          <a:p>
            <a:pPr marL="452155" indent="-452155" algn="just">
              <a:buFont typeface="Arial" panose="020B0604020202020204" pitchFamily="34" charset="0"/>
              <a:buChar char="•"/>
            </a:pPr>
            <a:r>
              <a:rPr lang="en-US" sz="2461" dirty="0">
                <a:latin typeface="Red Hat Display" panose="02010503040201060303" pitchFamily="2" charset="77"/>
              </a:rPr>
              <a:t>When selecting wind data for opposite NAO phases </a:t>
            </a:r>
            <a:r>
              <a:rPr lang="de-DE" sz="2461" dirty="0">
                <a:latin typeface="Red Hat Display" panose="02010503040201060303"/>
              </a:rPr>
              <a:t>(cf. </a:t>
            </a:r>
            <a:r>
              <a:rPr lang="da-DK" sz="2461" dirty="0">
                <a:latin typeface="Red Hat Display" panose="02010503040201060303"/>
              </a:rPr>
              <a:t>Figure 1)</a:t>
            </a:r>
            <a:r>
              <a:rPr lang="en-US" sz="2461" dirty="0">
                <a:latin typeface="Red Hat Display" panose="02010503040201060303" pitchFamily="2" charset="77"/>
              </a:rPr>
              <a:t>, North Atlantic-wide windspeeds do not differ between NAO phase (Figure 3c)</a:t>
            </a:r>
          </a:p>
          <a:p>
            <a:pPr marL="1964425" lvl="1" indent="-452155" algn="just">
              <a:buFont typeface="Courier New" panose="02070309020205020404" pitchFamily="49" charset="0"/>
              <a:buChar char="o"/>
            </a:pPr>
            <a:r>
              <a:rPr lang="en-US" sz="2461" dirty="0">
                <a:latin typeface="Red Hat Display" panose="02010503040201060303" pitchFamily="2" charset="77"/>
              </a:rPr>
              <a:t>The data seem to be equally spread between regions with higher expected wind speeds due to NAO positive and NAO negative phases respectively (Figure 3c)</a:t>
            </a:r>
          </a:p>
          <a:p>
            <a:pPr marL="452155" indent="-452155" algn="just">
              <a:buFont typeface="Arial" panose="020B0604020202020204" pitchFamily="34" charset="0"/>
              <a:buChar char="•"/>
            </a:pPr>
            <a:r>
              <a:rPr lang="en-US" sz="2461" dirty="0">
                <a:latin typeface="Red Hat Display" panose="02010503040201060303" pitchFamily="2" charset="77"/>
              </a:rPr>
              <a:t>When only regions with positive wind speed anomalies in NAO-positive phases were considered, higher wind speeds in the NAO-positive phase than in the negative phase are seen (Figure 3b)</a:t>
            </a:r>
          </a:p>
        </p:txBody>
      </p:sp>
      <p:sp>
        <p:nvSpPr>
          <p:cNvPr id="88" name="TextBox 14">
            <a:extLst>
              <a:ext uri="{FF2B5EF4-FFF2-40B4-BE49-F238E27FC236}">
                <a16:creationId xmlns:a16="http://schemas.microsoft.com/office/drawing/2014/main" id="{4FF7241D-0111-FD5A-5945-E52932717C35}"/>
              </a:ext>
            </a:extLst>
          </p:cNvPr>
          <p:cNvSpPr txBox="1"/>
          <p:nvPr/>
        </p:nvSpPr>
        <p:spPr>
          <a:xfrm>
            <a:off x="26340178" y="11308533"/>
            <a:ext cx="10768023" cy="4257961"/>
          </a:xfrm>
          <a:prstGeom prst="rect">
            <a:avLst/>
          </a:prstGeom>
          <a:noFill/>
        </p:spPr>
        <p:txBody>
          <a:bodyPr wrap="square" rtlCol="0">
            <a:spAutoFit/>
          </a:bodyPr>
          <a:lstStyle/>
          <a:p>
            <a:pPr algn="just"/>
            <a:r>
              <a:rPr lang="en-US" sz="2461" b="1" dirty="0">
                <a:solidFill>
                  <a:schemeClr val="tx2"/>
                </a:solidFill>
                <a:latin typeface="Red Hat Display" panose="02010503040201060303" pitchFamily="2" charset="77"/>
              </a:rPr>
              <a:t>3.   Wind directions</a:t>
            </a:r>
          </a:p>
          <a:p>
            <a:pPr marL="452155" indent="-452155" algn="just">
              <a:buFont typeface="Arial" panose="020B0604020202020204" pitchFamily="34" charset="0"/>
              <a:buChar char="•"/>
            </a:pPr>
            <a:r>
              <a:rPr lang="en-US" sz="2461" dirty="0">
                <a:latin typeface="Red Hat Display" panose="02010503040201060303" pitchFamily="2" charset="77"/>
              </a:rPr>
              <a:t>Compared the monthly mean reanalysis wind directions to the wind directions measured by the whalers</a:t>
            </a:r>
          </a:p>
          <a:p>
            <a:pPr marL="452155" indent="-452155" algn="just">
              <a:buFont typeface="Arial" panose="020B0604020202020204" pitchFamily="34" charset="0"/>
              <a:buChar char="•"/>
            </a:pPr>
            <a:r>
              <a:rPr lang="en-US" sz="2461" dirty="0">
                <a:latin typeface="Red Hat Display" panose="02010503040201060303" pitchFamily="2" charset="77"/>
              </a:rPr>
              <a:t>The logbook data is overall reflecting the expected wind patterns in the North Atlantic (Figure 4a)</a:t>
            </a:r>
          </a:p>
          <a:p>
            <a:pPr marL="452155" indent="-452155" algn="just">
              <a:buFont typeface="Arial" panose="020B0604020202020204" pitchFamily="34" charset="0"/>
              <a:buChar char="•"/>
            </a:pPr>
            <a:r>
              <a:rPr lang="en-US" sz="2461" dirty="0">
                <a:latin typeface="Red Hat Display" panose="02010503040201060303" pitchFamily="2" charset="77"/>
              </a:rPr>
              <a:t>Sorted the data by 20° x 10° </a:t>
            </a:r>
            <a:r>
              <a:rPr lang="en-US" sz="2461" dirty="0" err="1">
                <a:latin typeface="Red Hat Display" panose="02010503040201060303" pitchFamily="2" charset="77"/>
              </a:rPr>
              <a:t>lon</a:t>
            </a:r>
            <a:r>
              <a:rPr lang="en-US" sz="2461" dirty="0">
                <a:latin typeface="Red Hat Display" panose="02010503040201060303" pitchFamily="2" charset="77"/>
              </a:rPr>
              <a:t>/</a:t>
            </a:r>
            <a:r>
              <a:rPr lang="en-US" sz="2461" dirty="0" err="1">
                <a:latin typeface="Red Hat Display" panose="02010503040201060303" pitchFamily="2" charset="77"/>
              </a:rPr>
              <a:t>lat</a:t>
            </a:r>
            <a:r>
              <a:rPr lang="en-US" sz="2461" dirty="0">
                <a:latin typeface="Red Hat Display" panose="02010503040201060303" pitchFamily="2" charset="77"/>
              </a:rPr>
              <a:t> boxes</a:t>
            </a:r>
          </a:p>
          <a:p>
            <a:pPr marL="452155" indent="-452155" algn="just">
              <a:buFont typeface="Arial" panose="020B0604020202020204" pitchFamily="34" charset="0"/>
              <a:buChar char="•"/>
            </a:pPr>
            <a:r>
              <a:rPr lang="en-US" sz="2461" dirty="0">
                <a:latin typeface="Red Hat Display" panose="02010503040201060303" pitchFamily="2" charset="77"/>
              </a:rPr>
              <a:t>Sometimes just very few data points in the region</a:t>
            </a:r>
          </a:p>
          <a:p>
            <a:pPr marL="452155" indent="-452155" algn="just">
              <a:buFont typeface="Arial" panose="020B0604020202020204" pitchFamily="34" charset="0"/>
              <a:buChar char="•"/>
            </a:pPr>
            <a:r>
              <a:rPr lang="en-US" sz="2461" dirty="0">
                <a:latin typeface="Red Hat Display" panose="02010503040201060303" pitchFamily="2" charset="77"/>
              </a:rPr>
              <a:t>Compared to daily reanalysis data from 1848 (daily data was filtered the same way as before) (Figure 4b)</a:t>
            </a:r>
          </a:p>
          <a:p>
            <a:pPr algn="just"/>
            <a:r>
              <a:rPr lang="en-US" sz="2461" b="1" dirty="0">
                <a:solidFill>
                  <a:schemeClr val="tx2"/>
                </a:solidFill>
                <a:latin typeface="Red Hat Display" panose="02010503040201060303" pitchFamily="2" charset="77"/>
                <a:sym typeface="Wingdings" panose="05000000000000000000" pitchFamily="2" charset="2"/>
              </a:rPr>
              <a:t> </a:t>
            </a:r>
            <a:r>
              <a:rPr lang="en-US" sz="2461" b="1" dirty="0">
                <a:solidFill>
                  <a:schemeClr val="tx2"/>
                </a:solidFill>
                <a:latin typeface="Red Hat Display" panose="02010503040201060303" pitchFamily="2" charset="77"/>
              </a:rPr>
              <a:t>Wind directions between whalers’ records and </a:t>
            </a:r>
            <a:r>
              <a:rPr lang="en-US" sz="2461" b="1" dirty="0" err="1">
                <a:solidFill>
                  <a:schemeClr val="tx2"/>
                </a:solidFill>
                <a:latin typeface="Red Hat Display" panose="02010503040201060303" pitchFamily="2" charset="77"/>
              </a:rPr>
              <a:t>reanalyses</a:t>
            </a:r>
            <a:r>
              <a:rPr lang="en-US" sz="2461" b="1" dirty="0">
                <a:solidFill>
                  <a:schemeClr val="tx2"/>
                </a:solidFill>
                <a:latin typeface="Red Hat Display" panose="02010503040201060303" pitchFamily="2" charset="77"/>
              </a:rPr>
              <a:t> for daily wind data in 1848 are consistent</a:t>
            </a:r>
          </a:p>
        </p:txBody>
      </p:sp>
      <p:sp>
        <p:nvSpPr>
          <p:cNvPr id="91" name="TextBox 18">
            <a:extLst>
              <a:ext uri="{FF2B5EF4-FFF2-40B4-BE49-F238E27FC236}">
                <a16:creationId xmlns:a16="http://schemas.microsoft.com/office/drawing/2014/main" id="{FACB0B84-8F5B-E5CC-1301-3EF43C315531}"/>
              </a:ext>
            </a:extLst>
          </p:cNvPr>
          <p:cNvSpPr txBox="1"/>
          <p:nvPr/>
        </p:nvSpPr>
        <p:spPr>
          <a:xfrm>
            <a:off x="38267295" y="16407710"/>
            <a:ext cx="10329359" cy="6952292"/>
          </a:xfrm>
          <a:prstGeom prst="rect">
            <a:avLst/>
          </a:prstGeom>
          <a:solidFill>
            <a:schemeClr val="accent1">
              <a:lumMod val="20000"/>
              <a:lumOff val="80000"/>
            </a:schemeClr>
          </a:solidFill>
          <a:ln w="12700">
            <a:solidFill>
              <a:schemeClr val="tx2"/>
            </a:solidFill>
          </a:ln>
        </p:spPr>
        <p:txBody>
          <a:bodyPr wrap="square" lIns="158246" tIns="79123" rIns="158246" bIns="79123" rtlCol="0">
            <a:spAutoFit/>
          </a:bodyPr>
          <a:lstStyle/>
          <a:p>
            <a:pPr algn="just"/>
            <a:r>
              <a:rPr lang="en-US" sz="5949" b="1" dirty="0">
                <a:solidFill>
                  <a:schemeClr val="tx2"/>
                </a:solidFill>
                <a:latin typeface="Red Hat Display" panose="02010503040201060303" pitchFamily="2" charset="77"/>
              </a:rPr>
              <a:t>CONCLUSION</a:t>
            </a:r>
          </a:p>
          <a:p>
            <a:pPr algn="just">
              <a:lnSpc>
                <a:spcPct val="150000"/>
              </a:lnSpc>
              <a:spcAft>
                <a:spcPts val="1050"/>
              </a:spcAft>
            </a:pPr>
            <a:r>
              <a:rPr lang="de-DE" sz="2000" b="1" dirty="0">
                <a:solidFill>
                  <a:schemeClr val="tx2"/>
                </a:solidFill>
                <a:latin typeface="Red Hat Display" panose="02010503040201060303" pitchFamily="2" charset="77"/>
              </a:rPr>
              <a:t>Here we show that the descriptive logbook wind recordings skillfully compare with reanalysis.</a:t>
            </a:r>
          </a:p>
          <a:p>
            <a:pPr marL="401916" indent="-401916" algn="just">
              <a:lnSpc>
                <a:spcPct val="150000"/>
              </a:lnSpc>
              <a:spcAft>
                <a:spcPts val="1050"/>
              </a:spcAft>
              <a:buFont typeface="Wingdings" panose="05000000000000000000" pitchFamily="2" charset="2"/>
              <a:buChar char="à"/>
            </a:pPr>
            <a:r>
              <a:rPr lang="de-DE" sz="2000" b="1" dirty="0">
                <a:solidFill>
                  <a:schemeClr val="tx2"/>
                </a:solidFill>
                <a:latin typeface="Red Hat Display" panose="02010503040201060303" pitchFamily="2" charset="77"/>
                <a:sym typeface="Wingdings" panose="05000000000000000000" pitchFamily="2" charset="2"/>
              </a:rPr>
              <a:t>Meaningful quantitative comparison using Beaufort wind </a:t>
            </a:r>
            <a:r>
              <a:rPr lang="de-DE" sz="2000" b="1" dirty="0" err="1">
                <a:solidFill>
                  <a:schemeClr val="tx2"/>
                </a:solidFill>
                <a:latin typeface="Red Hat Display" panose="02010503040201060303" pitchFamily="2" charset="77"/>
                <a:sym typeface="Wingdings" panose="05000000000000000000" pitchFamily="2" charset="2"/>
              </a:rPr>
              <a:t>force</a:t>
            </a:r>
            <a:r>
              <a:rPr lang="de-DE" sz="2000" b="1" dirty="0">
                <a:solidFill>
                  <a:schemeClr val="tx2"/>
                </a:solidFill>
                <a:latin typeface="Red Hat Display" panose="02010503040201060303" pitchFamily="2" charset="77"/>
                <a:sym typeface="Wingdings" panose="05000000000000000000" pitchFamily="2" charset="2"/>
              </a:rPr>
              <a:t> </a:t>
            </a:r>
            <a:r>
              <a:rPr lang="de-DE" sz="2000" b="1" dirty="0" err="1">
                <a:solidFill>
                  <a:schemeClr val="tx2"/>
                </a:solidFill>
                <a:latin typeface="Red Hat Display" panose="02010503040201060303" pitchFamily="2" charset="77"/>
                <a:sym typeface="Wingdings" panose="05000000000000000000" pitchFamily="2" charset="2"/>
              </a:rPr>
              <a:t>scale</a:t>
            </a:r>
            <a:r>
              <a:rPr lang="de-DE" sz="2000" b="1" dirty="0">
                <a:solidFill>
                  <a:schemeClr val="tx2"/>
                </a:solidFill>
                <a:latin typeface="Red Hat Display" panose="02010503040201060303" pitchFamily="2" charset="77"/>
                <a:sym typeface="Wingdings" panose="05000000000000000000" pitchFamily="2" charset="2"/>
              </a:rPr>
              <a:t>.</a:t>
            </a:r>
          </a:p>
          <a:p>
            <a:pPr marL="401916" indent="-401916" algn="just">
              <a:lnSpc>
                <a:spcPct val="150000"/>
              </a:lnSpc>
              <a:spcAft>
                <a:spcPts val="1050"/>
              </a:spcAft>
              <a:buFont typeface="Wingdings" panose="05000000000000000000" pitchFamily="2" charset="2"/>
              <a:buChar char="à"/>
            </a:pPr>
            <a:r>
              <a:rPr lang="de-DE" sz="2000" b="1" dirty="0">
                <a:solidFill>
                  <a:schemeClr val="tx2"/>
                </a:solidFill>
                <a:latin typeface="Red Hat Display" panose="02010503040201060303" pitchFamily="2" charset="77"/>
                <a:sym typeface="Wingdings" panose="05000000000000000000" pitchFamily="2" charset="2"/>
              </a:rPr>
              <a:t>The whaling ship logbook data and the monthly mean ensemble mean data differ in spread, but since the whalers‘ data resemble just a snapshot observation, one needs to be careful by comparing them directly.</a:t>
            </a:r>
          </a:p>
          <a:p>
            <a:pPr marL="401916" indent="-401916" algn="just">
              <a:lnSpc>
                <a:spcPct val="150000"/>
              </a:lnSpc>
              <a:spcAft>
                <a:spcPts val="1050"/>
              </a:spcAft>
              <a:buFont typeface="Wingdings" panose="05000000000000000000" pitchFamily="2" charset="2"/>
              <a:buChar char="à"/>
            </a:pPr>
            <a:r>
              <a:rPr lang="de-DE" sz="2000" b="1" dirty="0">
                <a:solidFill>
                  <a:schemeClr val="tx2"/>
                </a:solidFill>
                <a:latin typeface="Red Hat Display" panose="02010503040201060303" pitchFamily="2" charset="77"/>
                <a:sym typeface="Wingdings" panose="05000000000000000000" pitchFamily="2" charset="2"/>
              </a:rPr>
              <a:t>At first glance, changes in North Atlantic wind speeds associated with the NAO do not seem to be reflected in the logbook data; however, when only selecting areas experiencing wind changes, it can be seen that the NAO is represented in the logbook wind data. </a:t>
            </a:r>
          </a:p>
          <a:p>
            <a:pPr algn="just">
              <a:lnSpc>
                <a:spcPct val="150000"/>
              </a:lnSpc>
              <a:spcAft>
                <a:spcPts val="1050"/>
              </a:spcAft>
            </a:pPr>
            <a:r>
              <a:rPr lang="de-DE" sz="2000" b="1" dirty="0">
                <a:solidFill>
                  <a:schemeClr val="tx2"/>
                </a:solidFill>
                <a:latin typeface="Red Hat Display" panose="02010503040201060303" pitchFamily="2" charset="77"/>
                <a:sym typeface="Wingdings" panose="05000000000000000000" pitchFamily="2" charset="2"/>
              </a:rPr>
              <a:t>         </a:t>
            </a:r>
            <a:r>
              <a:rPr lang="de-DE" sz="2000" b="1" i="1" dirty="0">
                <a:solidFill>
                  <a:schemeClr val="tx2"/>
                </a:solidFill>
                <a:latin typeface="Red Hat Display" panose="02010503040201060303" pitchFamily="2" charset="77"/>
                <a:sym typeface="Wingdings" panose="05000000000000000000" pitchFamily="2" charset="2"/>
              </a:rPr>
              <a:t>Next step:  </a:t>
            </a:r>
            <a:r>
              <a:rPr lang="de-DE" sz="2000" b="1" dirty="0">
                <a:solidFill>
                  <a:schemeClr val="tx2"/>
                </a:solidFill>
                <a:latin typeface="Red Hat Display" panose="02010503040201060303" pitchFamily="2" charset="77"/>
                <a:sym typeface="Wingdings" panose="05000000000000000000" pitchFamily="2" charset="2"/>
              </a:rPr>
              <a:t>comparing masked regions for daily reanalysis data to the NAO index</a:t>
            </a:r>
          </a:p>
          <a:p>
            <a:pPr marL="401916" indent="-401916" algn="just">
              <a:lnSpc>
                <a:spcPct val="150000"/>
              </a:lnSpc>
              <a:spcAft>
                <a:spcPts val="1050"/>
              </a:spcAft>
              <a:buFont typeface="Wingdings" panose="05000000000000000000" pitchFamily="2" charset="2"/>
              <a:buChar char="à"/>
            </a:pPr>
            <a:r>
              <a:rPr lang="de-DE" sz="2000" b="1" dirty="0">
                <a:solidFill>
                  <a:schemeClr val="tx2"/>
                </a:solidFill>
                <a:latin typeface="Red Hat Display" panose="02010503040201060303" pitchFamily="2" charset="77"/>
                <a:sym typeface="Wingdings" panose="05000000000000000000" pitchFamily="2" charset="2"/>
              </a:rPr>
              <a:t>Wind directions show overall good agreement with the reanalysis data. </a:t>
            </a:r>
          </a:p>
          <a:p>
            <a:pPr algn="just">
              <a:lnSpc>
                <a:spcPct val="150000"/>
              </a:lnSpc>
              <a:spcAft>
                <a:spcPts val="1050"/>
              </a:spcAft>
            </a:pPr>
            <a:r>
              <a:rPr lang="de-DE" sz="2000" b="1" dirty="0">
                <a:solidFill>
                  <a:schemeClr val="tx2"/>
                </a:solidFill>
                <a:latin typeface="Red Hat Display" panose="02010503040201060303" pitchFamily="2" charset="77"/>
                <a:sym typeface="Wingdings" panose="05000000000000000000" pitchFamily="2" charset="2"/>
              </a:rPr>
              <a:t>         </a:t>
            </a:r>
            <a:r>
              <a:rPr lang="de-DE" sz="2000" b="1" i="1" dirty="0">
                <a:solidFill>
                  <a:schemeClr val="tx2"/>
                </a:solidFill>
                <a:latin typeface="Red Hat Display" panose="02010503040201060303" pitchFamily="2" charset="77"/>
                <a:sym typeface="Wingdings" panose="05000000000000000000" pitchFamily="2" charset="2"/>
              </a:rPr>
              <a:t>Next step: </a:t>
            </a:r>
            <a:r>
              <a:rPr lang="de-DE" sz="2000" b="1" dirty="0">
                <a:solidFill>
                  <a:schemeClr val="tx2"/>
                </a:solidFill>
                <a:latin typeface="Red Hat Display" panose="02010503040201060303" pitchFamily="2" charset="77"/>
                <a:sym typeface="Wingdings" panose="05000000000000000000" pitchFamily="2" charset="2"/>
              </a:rPr>
              <a:t>further comparison with the daily reanalysis data</a:t>
            </a:r>
          </a:p>
        </p:txBody>
      </p:sp>
      <p:cxnSp>
        <p:nvCxnSpPr>
          <p:cNvPr id="15" name="Straight Connector 16">
            <a:extLst>
              <a:ext uri="{FF2B5EF4-FFF2-40B4-BE49-F238E27FC236}">
                <a16:creationId xmlns:a16="http://schemas.microsoft.com/office/drawing/2014/main" id="{3A043B9D-6477-F59D-CE12-D287BC58BFB3}"/>
              </a:ext>
            </a:extLst>
          </p:cNvPr>
          <p:cNvCxnSpPr>
            <a:cxnSpLocks/>
          </p:cNvCxnSpPr>
          <p:nvPr/>
        </p:nvCxnSpPr>
        <p:spPr>
          <a:xfrm>
            <a:off x="37769544" y="16376199"/>
            <a:ext cx="0" cy="9202073"/>
          </a:xfrm>
          <a:prstGeom prst="line">
            <a:avLst/>
          </a:prstGeom>
          <a:ln w="44450">
            <a:solidFill>
              <a:schemeClr val="tx2"/>
            </a:solidFill>
          </a:ln>
          <a:effectLst/>
        </p:spPr>
        <p:style>
          <a:lnRef idx="2">
            <a:schemeClr val="accent1"/>
          </a:lnRef>
          <a:fillRef idx="0">
            <a:schemeClr val="accent1"/>
          </a:fillRef>
          <a:effectRef idx="1">
            <a:schemeClr val="accent1"/>
          </a:effectRef>
          <a:fontRef idx="minor">
            <a:schemeClr val="tx1"/>
          </a:fontRef>
        </p:style>
      </p:cxnSp>
      <p:sp>
        <p:nvSpPr>
          <p:cNvPr id="22" name="TextBox 11">
            <a:extLst>
              <a:ext uri="{FF2B5EF4-FFF2-40B4-BE49-F238E27FC236}">
                <a16:creationId xmlns:a16="http://schemas.microsoft.com/office/drawing/2014/main" id="{BCA355E1-61AB-06BD-1E54-623C06D83B58}"/>
              </a:ext>
            </a:extLst>
          </p:cNvPr>
          <p:cNvSpPr txBox="1"/>
          <p:nvPr/>
        </p:nvSpPr>
        <p:spPr>
          <a:xfrm>
            <a:off x="1803296" y="11385442"/>
            <a:ext cx="10444500" cy="9537291"/>
          </a:xfrm>
          <a:prstGeom prst="rect">
            <a:avLst/>
          </a:prstGeom>
          <a:noFill/>
        </p:spPr>
        <p:txBody>
          <a:bodyPr wrap="square" rtlCol="0">
            <a:spAutoFit/>
          </a:bodyPr>
          <a:lstStyle/>
          <a:p>
            <a:pPr algn="just"/>
            <a:r>
              <a:rPr lang="en-US" sz="5949" b="1" dirty="0">
                <a:solidFill>
                  <a:schemeClr val="tx2"/>
                </a:solidFill>
                <a:latin typeface="Red Hat Display" panose="02010503040201060303"/>
              </a:rPr>
              <a:t>METHODS</a:t>
            </a:r>
            <a:endParaRPr lang="en-DE" sz="1758" kern="100" dirty="0">
              <a:latin typeface="Red Hat Display" panose="02010503040201060303"/>
              <a:ea typeface="Calibri" panose="020F0502020204030204" pitchFamily="34" charset="0"/>
              <a:cs typeface="Times New Roman" panose="02020603050405020304" pitchFamily="18" charset="0"/>
            </a:endParaRPr>
          </a:p>
          <a:p>
            <a:pPr algn="just">
              <a:lnSpc>
                <a:spcPct val="107000"/>
              </a:lnSpc>
              <a:spcAft>
                <a:spcPts val="703"/>
              </a:spcAft>
            </a:pPr>
            <a:r>
              <a:rPr lang="en-DE" sz="1758" kern="100" dirty="0">
                <a:latin typeface="Red Hat Display" panose="02010503040201060303"/>
                <a:ea typeface="Calibri" panose="020F0502020204030204" pitchFamily="34" charset="0"/>
                <a:cs typeface="Times New Roman" panose="02020603050405020304" pitchFamily="18" charset="0"/>
              </a:rPr>
              <a:t>The </a:t>
            </a:r>
            <a:r>
              <a:rPr lang="en-US" sz="1758" kern="100" dirty="0">
                <a:latin typeface="Red Hat Display" panose="02010503040201060303"/>
                <a:ea typeface="Calibri" panose="020F0502020204030204" pitchFamily="34" charset="0"/>
                <a:cs typeface="Times New Roman" panose="02020603050405020304" pitchFamily="18" charset="0"/>
              </a:rPr>
              <a:t>maritime weather </a:t>
            </a:r>
            <a:r>
              <a:rPr lang="en-DE" sz="1758" kern="100" dirty="0">
                <a:latin typeface="Red Hat Display" panose="02010503040201060303"/>
                <a:ea typeface="Calibri" panose="020F0502020204030204" pitchFamily="34" charset="0"/>
                <a:cs typeface="Times New Roman" panose="02020603050405020304" pitchFamily="18" charset="0"/>
              </a:rPr>
              <a:t>data from</a:t>
            </a:r>
            <a:r>
              <a:rPr lang="en-US" sz="1758" kern="100" dirty="0">
                <a:latin typeface="Red Hat Display" panose="02010503040201060303"/>
                <a:ea typeface="Calibri" panose="020F0502020204030204" pitchFamily="34" charset="0"/>
                <a:cs typeface="Times New Roman" panose="02020603050405020304" pitchFamily="18" charset="0"/>
              </a:rPr>
              <a:t> historical</a:t>
            </a:r>
            <a:r>
              <a:rPr lang="en-DE" sz="1758" kern="100" dirty="0">
                <a:latin typeface="Red Hat Display" panose="02010503040201060303"/>
                <a:ea typeface="Calibri" panose="020F0502020204030204" pitchFamily="34" charset="0"/>
                <a:cs typeface="Times New Roman" panose="02020603050405020304" pitchFamily="18" charset="0"/>
              </a:rPr>
              <a:t> whaling ship logbooks was obtained </a:t>
            </a:r>
            <a:r>
              <a:rPr lang="en-US" sz="1758" kern="100" dirty="0">
                <a:latin typeface="Red Hat Display" panose="02010503040201060303"/>
                <a:ea typeface="Calibri" panose="020F0502020204030204" pitchFamily="34" charset="0"/>
                <a:cs typeface="Times New Roman" panose="02020603050405020304" pitchFamily="18" charset="0"/>
              </a:rPr>
              <a:t>by archival researchers </a:t>
            </a:r>
            <a:r>
              <a:rPr lang="en-DE" sz="1758" kern="100" dirty="0">
                <a:latin typeface="Red Hat Display" panose="02010503040201060303"/>
                <a:ea typeface="Calibri" panose="020F0502020204030204" pitchFamily="34" charset="0"/>
                <a:cs typeface="Times New Roman" panose="02020603050405020304" pitchFamily="18" charset="0"/>
              </a:rPr>
              <a:t>in New England archives</a:t>
            </a:r>
            <a:r>
              <a:rPr lang="en-US" sz="1758" kern="100" dirty="0">
                <a:latin typeface="Red Hat Display" panose="02010503040201060303"/>
                <a:ea typeface="Calibri" panose="020F0502020204030204" pitchFamily="34" charset="0"/>
                <a:cs typeface="Times New Roman" panose="02020603050405020304" pitchFamily="18" charset="0"/>
              </a:rPr>
              <a:t> (New Bedford Whaling Museum, Nantucket Historical Association, Providence Public Library), covering the period 1790-1914</a:t>
            </a:r>
            <a:r>
              <a:rPr lang="en-DE" sz="1758" kern="100" dirty="0">
                <a:latin typeface="Red Hat Display" panose="02010503040201060303"/>
                <a:ea typeface="Calibri" panose="020F0502020204030204" pitchFamily="34" charset="0"/>
                <a:cs typeface="Times New Roman" panose="02020603050405020304" pitchFamily="18" charset="0"/>
              </a:rPr>
              <a:t>. </a:t>
            </a:r>
            <a:endParaRPr lang="en-US" sz="1758" kern="100" dirty="0">
              <a:latin typeface="Red Hat Display" panose="02010503040201060303"/>
              <a:ea typeface="Calibri" panose="020F0502020204030204" pitchFamily="34" charset="0"/>
              <a:cs typeface="Times New Roman" panose="02020603050405020304" pitchFamily="18" charset="0"/>
            </a:endParaRPr>
          </a:p>
          <a:p>
            <a:pPr algn="just">
              <a:lnSpc>
                <a:spcPct val="107000"/>
              </a:lnSpc>
              <a:spcAft>
                <a:spcPts val="703"/>
              </a:spcAft>
            </a:pPr>
            <a:r>
              <a:rPr lang="en-US" sz="1758" b="1" kern="100" dirty="0">
                <a:solidFill>
                  <a:schemeClr val="tx2"/>
                </a:solidFill>
                <a:latin typeface="Red Hat Display" panose="02010503040201060303"/>
                <a:ea typeface="Calibri" panose="020F0502020204030204" pitchFamily="34" charset="0"/>
                <a:cs typeface="Times New Roman" panose="02020603050405020304" pitchFamily="18" charset="0"/>
              </a:rPr>
              <a:t>Initial quality check:  </a:t>
            </a:r>
            <a:r>
              <a:rPr lang="en-US" sz="1758" kern="100" dirty="0">
                <a:latin typeface="Red Hat Display" panose="02010503040201060303"/>
                <a:ea typeface="Calibri" panose="020F0502020204030204" pitchFamily="34" charset="0"/>
                <a:cs typeface="Times New Roman" panose="02020603050405020304" pitchFamily="18" charset="0"/>
              </a:rPr>
              <a:t>only</a:t>
            </a:r>
            <a:r>
              <a:rPr lang="en-DE" sz="1758" kern="100" dirty="0">
                <a:latin typeface="Red Hat Display" panose="02010503040201060303"/>
                <a:ea typeface="Calibri" panose="020F0502020204030204" pitchFamily="34" charset="0"/>
                <a:cs typeface="Times New Roman" panose="02020603050405020304" pitchFamily="18" charset="0"/>
              </a:rPr>
              <a:t> data points </a:t>
            </a:r>
            <a:r>
              <a:rPr lang="en-US" sz="1758" kern="100" dirty="0">
                <a:latin typeface="Red Hat Display" panose="02010503040201060303"/>
                <a:ea typeface="Calibri" panose="020F0502020204030204" pitchFamily="34" charset="0"/>
                <a:cs typeface="Times New Roman" panose="02020603050405020304" pitchFamily="18" charset="0"/>
              </a:rPr>
              <a:t>are retained that have a valid</a:t>
            </a:r>
            <a:r>
              <a:rPr lang="en-DE" sz="1758" kern="100" dirty="0">
                <a:latin typeface="Red Hat Display" panose="02010503040201060303"/>
                <a:ea typeface="Calibri" panose="020F0502020204030204" pitchFamily="34" charset="0"/>
                <a:cs typeface="Times New Roman" panose="02020603050405020304" pitchFamily="18" charset="0"/>
              </a:rPr>
              <a:t> location </a:t>
            </a:r>
            <a:r>
              <a:rPr lang="en-US" sz="1758" kern="100" dirty="0">
                <a:latin typeface="Red Hat Display" panose="02010503040201060303"/>
                <a:ea typeface="Calibri" panose="020F0502020204030204" pitchFamily="34" charset="0"/>
                <a:cs typeface="Times New Roman" panose="02020603050405020304" pitchFamily="18" charset="0"/>
              </a:rPr>
              <a:t>(latitude and longitude) and useable wind speed/direction</a:t>
            </a:r>
            <a:r>
              <a:rPr lang="en-DE" sz="1758" kern="100" dirty="0">
                <a:latin typeface="Red Hat Display" panose="02010503040201060303"/>
                <a:ea typeface="Calibri" panose="020F0502020204030204" pitchFamily="34" charset="0"/>
                <a:cs typeface="Times New Roman" panose="02020603050405020304" pitchFamily="18" charset="0"/>
              </a:rPr>
              <a:t>. </a:t>
            </a:r>
            <a:endParaRPr lang="en-US" sz="1758" kern="100" dirty="0">
              <a:latin typeface="Red Hat Display" panose="02010503040201060303"/>
              <a:ea typeface="Calibri" panose="020F0502020204030204" pitchFamily="34" charset="0"/>
              <a:cs typeface="Times New Roman" panose="02020603050405020304" pitchFamily="18" charset="0"/>
            </a:endParaRPr>
          </a:p>
          <a:p>
            <a:pPr algn="just">
              <a:lnSpc>
                <a:spcPct val="107000"/>
              </a:lnSpc>
              <a:spcAft>
                <a:spcPts val="703"/>
              </a:spcAft>
            </a:pPr>
            <a:r>
              <a:rPr lang="en-US" sz="1758" b="1" kern="100" dirty="0">
                <a:solidFill>
                  <a:schemeClr val="tx2"/>
                </a:solidFill>
                <a:latin typeface="Red Hat Display" panose="02010503040201060303"/>
                <a:ea typeface="Calibri" panose="020F0502020204030204" pitchFamily="34" charset="0"/>
                <a:cs typeface="Times New Roman" panose="02020603050405020304" pitchFamily="18" charset="0"/>
              </a:rPr>
              <a:t>Study region: </a:t>
            </a:r>
            <a:r>
              <a:rPr lang="en-DE" sz="1758" kern="100" dirty="0">
                <a:latin typeface="Red Hat Display" panose="02010503040201060303"/>
                <a:ea typeface="Calibri" panose="020F0502020204030204" pitchFamily="34" charset="0"/>
                <a:cs typeface="Times New Roman" panose="02020603050405020304" pitchFamily="18" charset="0"/>
              </a:rPr>
              <a:t>Only data points </a:t>
            </a:r>
            <a:r>
              <a:rPr lang="en-US" sz="1758" kern="100" dirty="0">
                <a:latin typeface="Red Hat Display" panose="02010503040201060303"/>
                <a:ea typeface="Calibri" panose="020F0502020204030204" pitchFamily="34" charset="0"/>
                <a:cs typeface="Times New Roman" panose="02020603050405020304" pitchFamily="18" charset="0"/>
              </a:rPr>
              <a:t>in the North Atlantic (</a:t>
            </a:r>
            <a:r>
              <a:rPr lang="en-DE" sz="1758" kern="100" dirty="0">
                <a:latin typeface="Red Hat Display" panose="02010503040201060303"/>
                <a:ea typeface="Calibri" panose="020F0502020204030204" pitchFamily="34" charset="0"/>
                <a:cs typeface="Times New Roman" panose="02020603050405020304" pitchFamily="18" charset="0"/>
              </a:rPr>
              <a:t>5°</a:t>
            </a:r>
            <a:r>
              <a:rPr lang="en-US" sz="1758" kern="100" dirty="0">
                <a:latin typeface="Red Hat Display" panose="02010503040201060303"/>
                <a:ea typeface="Calibri" panose="020F0502020204030204" pitchFamily="34" charset="0"/>
                <a:cs typeface="Times New Roman" panose="02020603050405020304" pitchFamily="18" charset="0"/>
              </a:rPr>
              <a:t>-</a:t>
            </a:r>
            <a:r>
              <a:rPr lang="en-DE" sz="1758" kern="100" dirty="0">
                <a:latin typeface="Red Hat Display" panose="02010503040201060303"/>
                <a:ea typeface="Calibri" panose="020F0502020204030204" pitchFamily="34" charset="0"/>
                <a:cs typeface="Times New Roman" panose="02020603050405020304" pitchFamily="18" charset="0"/>
              </a:rPr>
              <a:t>85°W</a:t>
            </a:r>
            <a:r>
              <a:rPr lang="en-US" sz="1758" kern="100" dirty="0">
                <a:latin typeface="Red Hat Display" panose="02010503040201060303"/>
                <a:ea typeface="Calibri" panose="020F0502020204030204" pitchFamily="34" charset="0"/>
                <a:cs typeface="Times New Roman" panose="02020603050405020304" pitchFamily="18" charset="0"/>
              </a:rPr>
              <a:t>,</a:t>
            </a:r>
            <a:r>
              <a:rPr lang="en-DE" sz="1758" kern="100" dirty="0">
                <a:latin typeface="Red Hat Display" panose="02010503040201060303"/>
                <a:ea typeface="Calibri" panose="020F0502020204030204" pitchFamily="34" charset="0"/>
                <a:cs typeface="Times New Roman" panose="02020603050405020304" pitchFamily="18" charset="0"/>
              </a:rPr>
              <a:t> 15°</a:t>
            </a:r>
            <a:r>
              <a:rPr lang="en-US" sz="1758" kern="100" dirty="0">
                <a:latin typeface="Red Hat Display" panose="02010503040201060303"/>
                <a:ea typeface="Calibri" panose="020F0502020204030204" pitchFamily="34" charset="0"/>
                <a:cs typeface="Times New Roman" panose="02020603050405020304" pitchFamily="18" charset="0"/>
              </a:rPr>
              <a:t>-</a:t>
            </a:r>
            <a:r>
              <a:rPr lang="en-DE" sz="1758" kern="100" dirty="0">
                <a:latin typeface="Red Hat Display" panose="02010503040201060303"/>
                <a:ea typeface="Calibri" panose="020F0502020204030204" pitchFamily="34" charset="0"/>
                <a:cs typeface="Times New Roman" panose="02020603050405020304" pitchFamily="18" charset="0"/>
              </a:rPr>
              <a:t>55°N</a:t>
            </a:r>
            <a:r>
              <a:rPr lang="en-US" sz="1758" kern="100" dirty="0">
                <a:latin typeface="Red Hat Display" panose="02010503040201060303"/>
                <a:ea typeface="Calibri" panose="020F0502020204030204" pitchFamily="34" charset="0"/>
                <a:cs typeface="Times New Roman" panose="02020603050405020304" pitchFamily="18" charset="0"/>
              </a:rPr>
              <a:t>)</a:t>
            </a:r>
            <a:r>
              <a:rPr lang="en-DE" sz="1758" kern="100" dirty="0">
                <a:latin typeface="Red Hat Display" panose="02010503040201060303"/>
                <a:ea typeface="Calibri" panose="020F0502020204030204" pitchFamily="34" charset="0"/>
                <a:cs typeface="Times New Roman" panose="02020603050405020304" pitchFamily="18" charset="0"/>
              </a:rPr>
              <a:t> were used for this analysis.</a:t>
            </a:r>
          </a:p>
          <a:p>
            <a:pPr algn="just">
              <a:lnSpc>
                <a:spcPct val="107000"/>
              </a:lnSpc>
              <a:spcAft>
                <a:spcPts val="703"/>
              </a:spcAft>
            </a:pPr>
            <a:r>
              <a:rPr lang="en-DE" sz="1758" kern="100" dirty="0">
                <a:latin typeface="Red Hat Display" panose="02010503040201060303"/>
                <a:ea typeface="Calibri" panose="020F0502020204030204" pitchFamily="34" charset="0"/>
                <a:cs typeface="Times New Roman" panose="02020603050405020304" pitchFamily="18" charset="0"/>
              </a:rPr>
              <a:t>Three datasets of the </a:t>
            </a:r>
            <a:r>
              <a:rPr lang="en-GB" sz="1758" kern="100" dirty="0">
                <a:latin typeface="Red Hat Display" panose="02010503040201060303"/>
                <a:ea typeface="Calibri" panose="020F0502020204030204" pitchFamily="34" charset="0"/>
                <a:cs typeface="Times New Roman" panose="02020603050405020304" pitchFamily="18" charset="0"/>
              </a:rPr>
              <a:t>NOAA/CIRES/DOE </a:t>
            </a:r>
            <a:r>
              <a:rPr lang="en-GB" sz="1758" b="1" kern="100" dirty="0">
                <a:solidFill>
                  <a:schemeClr val="tx2"/>
                </a:solidFill>
                <a:latin typeface="Red Hat Display" panose="02010503040201060303"/>
                <a:ea typeface="Calibri" panose="020F0502020204030204" pitchFamily="34" charset="0"/>
                <a:cs typeface="Times New Roman" panose="02020603050405020304" pitchFamily="18" charset="0"/>
              </a:rPr>
              <a:t>20th Century Reanalysis </a:t>
            </a:r>
            <a:r>
              <a:rPr lang="en-GB" sz="1758" kern="100" dirty="0">
                <a:latin typeface="Red Hat Display" panose="02010503040201060303"/>
                <a:ea typeface="Calibri" panose="020F0502020204030204" pitchFamily="34" charset="0"/>
                <a:cs typeface="Times New Roman" panose="02020603050405020304" pitchFamily="18" charset="0"/>
              </a:rPr>
              <a:t>(V3; Compo et al. 2011)</a:t>
            </a:r>
            <a:r>
              <a:rPr lang="en-DE" sz="1758" kern="100" dirty="0">
                <a:latin typeface="Red Hat Display" panose="02010503040201060303"/>
                <a:ea typeface="Calibri" panose="020F0502020204030204" pitchFamily="34" charset="0"/>
                <a:cs typeface="Times New Roman" panose="02020603050405020304" pitchFamily="18" charset="0"/>
              </a:rPr>
              <a:t> surface wind data </a:t>
            </a:r>
            <a:r>
              <a:rPr lang="de-DE" sz="1758" kern="100" dirty="0">
                <a:latin typeface="Red Hat Display" panose="02010503040201060303"/>
                <a:ea typeface="Calibri" panose="020F0502020204030204" pitchFamily="34" charset="0"/>
                <a:cs typeface="Times New Roman" panose="02020603050405020304" pitchFamily="18" charset="0"/>
              </a:rPr>
              <a:t>were</a:t>
            </a:r>
            <a:r>
              <a:rPr lang="en-DE" sz="1758" kern="100" dirty="0">
                <a:latin typeface="Red Hat Display" panose="02010503040201060303"/>
                <a:ea typeface="Calibri" panose="020F0502020204030204" pitchFamily="34" charset="0"/>
                <a:cs typeface="Times New Roman" panose="02020603050405020304" pitchFamily="18" charset="0"/>
              </a:rPr>
              <a:t> used</a:t>
            </a:r>
            <a:r>
              <a:rPr lang="en-US" sz="1758" kern="100" dirty="0">
                <a:latin typeface="Red Hat Display" panose="02010503040201060303"/>
                <a:ea typeface="Calibri" panose="020F0502020204030204" pitchFamily="34" charset="0"/>
                <a:cs typeface="Times New Roman" panose="02020603050405020304" pitchFamily="18" charset="0"/>
              </a:rPr>
              <a:t> for comparison with the historical ship logbook:</a:t>
            </a:r>
          </a:p>
          <a:p>
            <a:pPr marL="301435" indent="-301435" algn="just">
              <a:lnSpc>
                <a:spcPct val="107000"/>
              </a:lnSpc>
              <a:spcAft>
                <a:spcPts val="703"/>
              </a:spcAft>
              <a:buFont typeface="Arial" panose="020B0604020202020204" pitchFamily="34" charset="0"/>
              <a:buChar char="•"/>
            </a:pPr>
            <a:r>
              <a:rPr lang="en-DE" sz="1758" kern="100" dirty="0">
                <a:latin typeface="Red Hat Display" panose="02010503040201060303"/>
                <a:ea typeface="Calibri" panose="020F0502020204030204" pitchFamily="34" charset="0"/>
                <a:cs typeface="Times New Roman" panose="02020603050405020304" pitchFamily="18" charset="0"/>
              </a:rPr>
              <a:t>Monthly </a:t>
            </a:r>
            <a:r>
              <a:rPr lang="de-DE" sz="1758" kern="100" dirty="0">
                <a:latin typeface="Red Hat Display" panose="02010503040201060303"/>
                <a:ea typeface="Calibri" panose="020F0502020204030204" pitchFamily="34" charset="0"/>
                <a:cs typeface="Times New Roman" panose="02020603050405020304" pitchFamily="18" charset="0"/>
              </a:rPr>
              <a:t>and </a:t>
            </a:r>
            <a:r>
              <a:rPr lang="de-DE" sz="1758" kern="100" dirty="0" err="1">
                <a:latin typeface="Red Hat Display" panose="02010503040201060303"/>
                <a:ea typeface="Calibri" panose="020F0502020204030204" pitchFamily="34" charset="0"/>
                <a:cs typeface="Times New Roman" panose="02020603050405020304" pitchFamily="18" charset="0"/>
              </a:rPr>
              <a:t>daily</a:t>
            </a:r>
            <a:r>
              <a:rPr lang="de-DE" sz="1758" kern="100" dirty="0">
                <a:latin typeface="Red Hat Display" panose="02010503040201060303"/>
                <a:ea typeface="Calibri" panose="020F0502020204030204" pitchFamily="34" charset="0"/>
                <a:cs typeface="Times New Roman" panose="02020603050405020304" pitchFamily="18" charset="0"/>
              </a:rPr>
              <a:t> </a:t>
            </a:r>
            <a:r>
              <a:rPr lang="en-DE" sz="1758" kern="100" dirty="0">
                <a:latin typeface="Red Hat Display" panose="02010503040201060303"/>
                <a:ea typeface="Calibri" panose="020F0502020204030204" pitchFamily="34" charset="0"/>
                <a:cs typeface="Times New Roman" panose="02020603050405020304" pitchFamily="18" charset="0"/>
              </a:rPr>
              <a:t>ensemble mean </a:t>
            </a:r>
            <a:r>
              <a:rPr lang="de-DE" sz="1758" kern="100" dirty="0">
                <a:latin typeface="Red Hat Display" panose="02010503040201060303"/>
                <a:ea typeface="Calibri" panose="020F0502020204030204" pitchFamily="34" charset="0"/>
                <a:cs typeface="Times New Roman" panose="02020603050405020304" pitchFamily="18" charset="0"/>
              </a:rPr>
              <a:t>for 1836 – 1914 and 1848, respectively, </a:t>
            </a:r>
            <a:r>
              <a:rPr lang="en-US" sz="1758" kern="100" dirty="0">
                <a:latin typeface="Red Hat Display" panose="02010503040201060303"/>
                <a:ea typeface="Calibri" panose="020F0502020204030204" pitchFamily="34" charset="0"/>
                <a:cs typeface="Times New Roman" panose="02020603050405020304" pitchFamily="18" charset="0"/>
              </a:rPr>
              <a:t>at</a:t>
            </a:r>
            <a:r>
              <a:rPr lang="en-DE" sz="1758" kern="100" dirty="0">
                <a:latin typeface="Red Hat Display" panose="02010503040201060303"/>
                <a:ea typeface="Calibri" panose="020F0502020204030204" pitchFamily="34" charset="0"/>
                <a:cs typeface="Times New Roman" panose="02020603050405020304" pitchFamily="18" charset="0"/>
              </a:rPr>
              <a:t> 1°</a:t>
            </a:r>
            <a:r>
              <a:rPr lang="en-US" sz="1758" kern="100" dirty="0">
                <a:latin typeface="Red Hat Display" panose="02010503040201060303"/>
                <a:ea typeface="Calibri" panose="020F0502020204030204" pitchFamily="34" charset="0"/>
                <a:cs typeface="Times New Roman" panose="02020603050405020304" pitchFamily="18" charset="0"/>
              </a:rPr>
              <a:t>x</a:t>
            </a:r>
            <a:r>
              <a:rPr lang="en-DE" sz="1758" kern="100" dirty="0">
                <a:latin typeface="Red Hat Display" panose="02010503040201060303"/>
                <a:ea typeface="Calibri" panose="020F0502020204030204" pitchFamily="34" charset="0"/>
                <a:cs typeface="Times New Roman" panose="02020603050405020304" pitchFamily="18" charset="0"/>
              </a:rPr>
              <a:t>1° grid resolution</a:t>
            </a:r>
            <a:r>
              <a:rPr lang="en-US" sz="1758" kern="100" dirty="0">
                <a:latin typeface="Red Hat Display" panose="02010503040201060303"/>
                <a:ea typeface="Calibri" panose="020F0502020204030204" pitchFamily="34" charset="0"/>
                <a:cs typeface="Times New Roman" panose="02020603050405020304" pitchFamily="18" charset="0"/>
              </a:rPr>
              <a:t>.</a:t>
            </a:r>
            <a:endParaRPr lang="de-DE" sz="1758" kern="100" dirty="0">
              <a:latin typeface="Red Hat Display" panose="02010503040201060303"/>
              <a:ea typeface="Calibri" panose="020F0502020204030204" pitchFamily="34" charset="0"/>
              <a:cs typeface="Times New Roman" panose="02020603050405020304" pitchFamily="18" charset="0"/>
            </a:endParaRPr>
          </a:p>
          <a:p>
            <a:pPr marL="301435" indent="-301435" algn="just">
              <a:lnSpc>
                <a:spcPct val="107000"/>
              </a:lnSpc>
              <a:spcAft>
                <a:spcPts val="703"/>
              </a:spcAft>
              <a:buFont typeface="Arial" panose="020B0604020202020204" pitchFamily="34" charset="0"/>
              <a:buChar char="•"/>
            </a:pPr>
            <a:r>
              <a:rPr lang="de-DE" sz="1758" kern="100" dirty="0">
                <a:latin typeface="Red Hat Display" panose="02010503040201060303"/>
                <a:ea typeface="Calibri" panose="020F0502020204030204" pitchFamily="34" charset="0"/>
                <a:cs typeface="Times New Roman" panose="02020603050405020304" pitchFamily="18" charset="0"/>
              </a:rPr>
              <a:t>Daily </a:t>
            </a:r>
            <a:r>
              <a:rPr lang="en-DE" sz="1758" kern="100" dirty="0">
                <a:latin typeface="Red Hat Display" panose="02010503040201060303"/>
                <a:ea typeface="Calibri" panose="020F0502020204030204" pitchFamily="34" charset="0"/>
                <a:cs typeface="Times New Roman" panose="02020603050405020304" pitchFamily="18" charset="0"/>
              </a:rPr>
              <a:t>ensemble mean </a:t>
            </a:r>
            <a:r>
              <a:rPr lang="en-US" sz="1758" kern="100" dirty="0">
                <a:latin typeface="Red Hat Display" panose="02010503040201060303"/>
                <a:ea typeface="Calibri" panose="020F0502020204030204" pitchFamily="34" charset="0"/>
                <a:cs typeface="Times New Roman" panose="02020603050405020304" pitchFamily="18" charset="0"/>
              </a:rPr>
              <a:t>data </a:t>
            </a:r>
            <a:r>
              <a:rPr lang="en-DE" sz="1758" kern="100" dirty="0">
                <a:latin typeface="Red Hat Display" panose="02010503040201060303"/>
                <a:ea typeface="Calibri" panose="020F0502020204030204" pitchFamily="34" charset="0"/>
                <a:cs typeface="Times New Roman" panose="02020603050405020304" pitchFamily="18" charset="0"/>
              </a:rPr>
              <a:t>for 18</a:t>
            </a:r>
            <a:r>
              <a:rPr lang="de-DE" sz="1758" kern="100" dirty="0">
                <a:latin typeface="Red Hat Display" panose="02010503040201060303"/>
                <a:ea typeface="Calibri" panose="020F0502020204030204" pitchFamily="34" charset="0"/>
                <a:cs typeface="Times New Roman" panose="02020603050405020304" pitchFamily="18" charset="0"/>
              </a:rPr>
              <a:t>51</a:t>
            </a:r>
            <a:r>
              <a:rPr lang="en-DE" sz="1758" kern="100" dirty="0">
                <a:latin typeface="Red Hat Display" panose="02010503040201060303"/>
                <a:ea typeface="Calibri" panose="020F0502020204030204" pitchFamily="34" charset="0"/>
                <a:cs typeface="Times New Roman" panose="02020603050405020304" pitchFamily="18" charset="0"/>
              </a:rPr>
              <a:t> – 1914 </a:t>
            </a:r>
            <a:r>
              <a:rPr lang="en-US" sz="1758" kern="100" dirty="0">
                <a:latin typeface="Red Hat Display" panose="02010503040201060303"/>
                <a:ea typeface="Calibri" panose="020F0502020204030204" pitchFamily="34" charset="0"/>
                <a:cs typeface="Times New Roman" panose="02020603050405020304" pitchFamily="18" charset="0"/>
              </a:rPr>
              <a:t>at</a:t>
            </a:r>
            <a:r>
              <a:rPr lang="en-DE" sz="1758" kern="100" dirty="0">
                <a:latin typeface="Red Hat Display" panose="02010503040201060303"/>
                <a:ea typeface="Calibri" panose="020F0502020204030204" pitchFamily="34" charset="0"/>
                <a:cs typeface="Times New Roman" panose="02020603050405020304" pitchFamily="18" charset="0"/>
              </a:rPr>
              <a:t> 2°</a:t>
            </a:r>
            <a:r>
              <a:rPr lang="en-US" sz="1758" kern="100" dirty="0">
                <a:latin typeface="Red Hat Display" panose="02010503040201060303"/>
                <a:ea typeface="Calibri" panose="020F0502020204030204" pitchFamily="34" charset="0"/>
                <a:cs typeface="Times New Roman" panose="02020603050405020304" pitchFamily="18" charset="0"/>
              </a:rPr>
              <a:t>x</a:t>
            </a:r>
            <a:r>
              <a:rPr lang="en-DE" sz="1758" kern="100" dirty="0">
                <a:latin typeface="Red Hat Display" panose="02010503040201060303"/>
                <a:ea typeface="Calibri" panose="020F0502020204030204" pitchFamily="34" charset="0"/>
                <a:cs typeface="Times New Roman" panose="02020603050405020304" pitchFamily="18" charset="0"/>
              </a:rPr>
              <a:t>2° grid resolution</a:t>
            </a:r>
            <a:r>
              <a:rPr lang="en-US" sz="1758" kern="100" dirty="0">
                <a:latin typeface="Red Hat Display" panose="02010503040201060303"/>
                <a:ea typeface="Calibri" panose="020F0502020204030204" pitchFamily="34" charset="0"/>
                <a:cs typeface="Times New Roman" panose="02020603050405020304" pitchFamily="18" charset="0"/>
              </a:rPr>
              <a:t>.</a:t>
            </a:r>
          </a:p>
          <a:p>
            <a:pPr algn="just">
              <a:lnSpc>
                <a:spcPct val="107000"/>
              </a:lnSpc>
              <a:spcAft>
                <a:spcPts val="703"/>
              </a:spcAft>
            </a:pPr>
            <a:r>
              <a:rPr lang="en-US" sz="1758" b="1" kern="100" dirty="0">
                <a:solidFill>
                  <a:schemeClr val="tx2"/>
                </a:solidFill>
                <a:latin typeface="Red Hat Display" panose="02010503040201060303"/>
                <a:ea typeface="Calibri" panose="020F0502020204030204" pitchFamily="34" charset="0"/>
                <a:cs typeface="Times New Roman" panose="02020603050405020304" pitchFamily="18" charset="0"/>
              </a:rPr>
              <a:t>Wind speed calculation:</a:t>
            </a:r>
            <a:r>
              <a:rPr lang="en-US" sz="1758" b="1" kern="100" dirty="0">
                <a:latin typeface="Red Hat Display" panose="02010503040201060303"/>
                <a:ea typeface="Calibri" panose="020F0502020204030204" pitchFamily="34" charset="0"/>
                <a:cs typeface="Times New Roman" panose="02020603050405020304" pitchFamily="18" charset="0"/>
              </a:rPr>
              <a:t> </a:t>
            </a:r>
            <a:r>
              <a:rPr lang="en-DE" sz="1758" kern="100" dirty="0">
                <a:latin typeface="Red Hat Display" panose="02010503040201060303"/>
                <a:ea typeface="Calibri" panose="020F0502020204030204" pitchFamily="34" charset="0"/>
                <a:cs typeface="Times New Roman" panose="02020603050405020304" pitchFamily="18" charset="0"/>
              </a:rPr>
              <a:t>Absolute windspeeds were obtained by taking the square root of the </a:t>
            </a:r>
            <a:r>
              <a:rPr lang="de-DE" sz="1758" kern="100" dirty="0">
                <a:latin typeface="Red Hat Display" panose="02010503040201060303"/>
                <a:ea typeface="Calibri" panose="020F0502020204030204" pitchFamily="34" charset="0"/>
                <a:cs typeface="Times New Roman" panose="02020603050405020304" pitchFamily="18" charset="0"/>
              </a:rPr>
              <a:t>squared</a:t>
            </a:r>
            <a:r>
              <a:rPr lang="en-DE" sz="1758" kern="100" dirty="0">
                <a:latin typeface="Red Hat Display" panose="02010503040201060303"/>
                <a:ea typeface="Calibri" panose="020F0502020204030204" pitchFamily="34" charset="0"/>
                <a:cs typeface="Times New Roman" panose="02020603050405020304" pitchFamily="18" charset="0"/>
              </a:rPr>
              <a:t> and subsequently </a:t>
            </a:r>
            <a:r>
              <a:rPr lang="de-DE" sz="1758" kern="100" dirty="0">
                <a:latin typeface="Red Hat Display" panose="02010503040201060303"/>
                <a:ea typeface="Calibri" panose="020F0502020204030204" pitchFamily="34" charset="0"/>
                <a:cs typeface="Times New Roman" panose="02020603050405020304" pitchFamily="18" charset="0"/>
              </a:rPr>
              <a:t>added</a:t>
            </a:r>
            <a:r>
              <a:rPr lang="en-DE" sz="1758" kern="100" dirty="0">
                <a:latin typeface="Red Hat Display" panose="02010503040201060303"/>
                <a:ea typeface="Calibri" panose="020F0502020204030204" pitchFamily="34" charset="0"/>
                <a:cs typeface="Times New Roman" panose="02020603050405020304" pitchFamily="18" charset="0"/>
              </a:rPr>
              <a:t> u- and v-wind data. </a:t>
            </a:r>
            <a:r>
              <a:rPr lang="en-US" sz="1758" kern="100" dirty="0">
                <a:latin typeface="Red Hat Display" panose="02010503040201060303"/>
                <a:ea typeface="Calibri" panose="020F0502020204030204" pitchFamily="34" charset="0"/>
                <a:cs typeface="Times New Roman" panose="02020603050405020304" pitchFamily="18" charset="0"/>
              </a:rPr>
              <a:t>T</a:t>
            </a:r>
            <a:r>
              <a:rPr lang="en-DE" sz="1758" kern="100" dirty="0">
                <a:latin typeface="Red Hat Display" panose="02010503040201060303"/>
                <a:ea typeface="Calibri" panose="020F0502020204030204" pitchFamily="34" charset="0"/>
                <a:cs typeface="Times New Roman" panose="02020603050405020304" pitchFamily="18" charset="0"/>
              </a:rPr>
              <a:t>o compare the </a:t>
            </a:r>
            <a:r>
              <a:rPr lang="de-DE" sz="1758" kern="100" dirty="0" err="1">
                <a:latin typeface="Red Hat Display" panose="02010503040201060303"/>
                <a:ea typeface="Calibri" panose="020F0502020204030204" pitchFamily="34" charset="0"/>
                <a:cs typeface="Times New Roman" panose="02020603050405020304" pitchFamily="18" charset="0"/>
              </a:rPr>
              <a:t>descriptive</a:t>
            </a:r>
            <a:r>
              <a:rPr lang="en-DE" sz="1758" kern="100" dirty="0">
                <a:latin typeface="Red Hat Display" panose="02010503040201060303"/>
                <a:ea typeface="Calibri" panose="020F0502020204030204" pitchFamily="34" charset="0"/>
                <a:cs typeface="Times New Roman" panose="02020603050405020304" pitchFamily="18" charset="0"/>
              </a:rPr>
              <a:t> logbook </a:t>
            </a:r>
            <a:r>
              <a:rPr lang="en-US" sz="1758" kern="100" dirty="0">
                <a:latin typeface="Red Hat Display" panose="02010503040201060303"/>
                <a:ea typeface="Calibri" panose="020F0502020204030204" pitchFamily="34" charset="0"/>
                <a:cs typeface="Times New Roman" panose="02020603050405020304" pitchFamily="18" charset="0"/>
              </a:rPr>
              <a:t>wind recordings</a:t>
            </a:r>
            <a:r>
              <a:rPr lang="en-DE" sz="1758" kern="100" dirty="0">
                <a:latin typeface="Red Hat Display" panose="02010503040201060303"/>
                <a:ea typeface="Calibri" panose="020F0502020204030204" pitchFamily="34" charset="0"/>
                <a:cs typeface="Times New Roman" panose="02020603050405020304" pitchFamily="18" charset="0"/>
              </a:rPr>
              <a:t> to the </a:t>
            </a:r>
            <a:r>
              <a:rPr lang="en-US" sz="1758" kern="100" dirty="0">
                <a:latin typeface="Red Hat Display" panose="02010503040201060303"/>
                <a:ea typeface="Calibri" panose="020F0502020204030204" pitchFamily="34" charset="0"/>
                <a:cs typeface="Times New Roman" panose="02020603050405020304" pitchFamily="18" charset="0"/>
              </a:rPr>
              <a:t>reanalysis</a:t>
            </a:r>
            <a:r>
              <a:rPr lang="en-DE" sz="1758" kern="100" dirty="0">
                <a:latin typeface="Red Hat Display" panose="02010503040201060303"/>
                <a:ea typeface="Calibri" panose="020F0502020204030204" pitchFamily="34" charset="0"/>
                <a:cs typeface="Times New Roman" panose="02020603050405020304" pitchFamily="18" charset="0"/>
              </a:rPr>
              <a:t>, it was then converted to the Beaufort wind force scale. The </a:t>
            </a:r>
            <a:r>
              <a:rPr lang="de-DE" sz="1758" kern="100" dirty="0">
                <a:latin typeface="Red Hat Display" panose="02010503040201060303"/>
                <a:ea typeface="Calibri" panose="020F0502020204030204" pitchFamily="34" charset="0"/>
                <a:cs typeface="Times New Roman" panose="02020603050405020304" pitchFamily="18" charset="0"/>
              </a:rPr>
              <a:t>reanalysis</a:t>
            </a:r>
            <a:r>
              <a:rPr lang="en-DE" sz="1758" kern="100" dirty="0">
                <a:latin typeface="Red Hat Display" panose="02010503040201060303"/>
                <a:ea typeface="Calibri" panose="020F0502020204030204" pitchFamily="34" charset="0"/>
                <a:cs typeface="Times New Roman" panose="02020603050405020304" pitchFamily="18" charset="0"/>
              </a:rPr>
              <a:t> </a:t>
            </a:r>
            <a:r>
              <a:rPr lang="de-DE" sz="1758" kern="100" dirty="0">
                <a:latin typeface="Red Hat Display" panose="02010503040201060303"/>
                <a:ea typeface="Calibri" panose="020F0502020204030204" pitchFamily="34" charset="0"/>
                <a:cs typeface="Times New Roman" panose="02020603050405020304" pitchFamily="18" charset="0"/>
              </a:rPr>
              <a:t>wind </a:t>
            </a:r>
            <a:r>
              <a:rPr lang="de-DE" sz="1758" kern="100" dirty="0" err="1">
                <a:latin typeface="Red Hat Display" panose="02010503040201060303"/>
                <a:ea typeface="Calibri" panose="020F0502020204030204" pitchFamily="34" charset="0"/>
                <a:cs typeface="Times New Roman" panose="02020603050405020304" pitchFamily="18" charset="0"/>
              </a:rPr>
              <a:t>directions</a:t>
            </a:r>
            <a:r>
              <a:rPr lang="en-DE" sz="1758" kern="100" dirty="0">
                <a:latin typeface="Red Hat Display" panose="02010503040201060303"/>
                <a:ea typeface="Calibri" panose="020F0502020204030204" pitchFamily="34" charset="0"/>
                <a:cs typeface="Times New Roman" panose="02020603050405020304" pitchFamily="18" charset="0"/>
              </a:rPr>
              <a:t> were calculated by taking the arctan of the v-wind divided by the u-wind. The resulting value was then converted to degrees north.</a:t>
            </a:r>
            <a:r>
              <a:rPr lang="de-DE" sz="1758" kern="100" dirty="0">
                <a:latin typeface="Red Hat Display" panose="02010503040201060303"/>
                <a:ea typeface="Calibri" panose="020F0502020204030204" pitchFamily="34" charset="0"/>
                <a:cs typeface="Times New Roman" panose="02020603050405020304" pitchFamily="18" charset="0"/>
              </a:rPr>
              <a:t> </a:t>
            </a:r>
            <a:r>
              <a:rPr lang="en-DE" sz="1758" kern="100" dirty="0">
                <a:latin typeface="Red Hat Display" panose="02010503040201060303"/>
                <a:ea typeface="Calibri" panose="020F0502020204030204" pitchFamily="34" charset="0"/>
                <a:cs typeface="Times New Roman" panose="02020603050405020304" pitchFamily="18" charset="0"/>
              </a:rPr>
              <a:t>Daily </a:t>
            </a:r>
            <a:r>
              <a:rPr lang="de-DE" sz="1758" kern="100" dirty="0" err="1">
                <a:latin typeface="Red Hat Display" panose="02010503040201060303"/>
                <a:ea typeface="Calibri" panose="020F0502020204030204" pitchFamily="34" charset="0"/>
                <a:cs typeface="Times New Roman" panose="02020603050405020304" pitchFamily="18" charset="0"/>
              </a:rPr>
              <a:t>model</a:t>
            </a:r>
            <a:r>
              <a:rPr lang="de-DE" sz="1758" kern="100" dirty="0">
                <a:latin typeface="Red Hat Display" panose="02010503040201060303"/>
                <a:ea typeface="Calibri" panose="020F0502020204030204" pitchFamily="34" charset="0"/>
                <a:cs typeface="Times New Roman" panose="02020603050405020304" pitchFamily="18" charset="0"/>
              </a:rPr>
              <a:t> </a:t>
            </a:r>
            <a:r>
              <a:rPr lang="de-DE" sz="1758" kern="100" dirty="0" err="1">
                <a:latin typeface="Red Hat Display" panose="02010503040201060303"/>
                <a:ea typeface="Calibri" panose="020F0502020204030204" pitchFamily="34" charset="0"/>
                <a:cs typeface="Times New Roman" panose="02020603050405020304" pitchFamily="18" charset="0"/>
              </a:rPr>
              <a:t>ensemble</a:t>
            </a:r>
            <a:r>
              <a:rPr lang="de-DE" sz="1758" kern="100" dirty="0">
                <a:latin typeface="Red Hat Display" panose="02010503040201060303"/>
                <a:ea typeface="Calibri" panose="020F0502020204030204" pitchFamily="34" charset="0"/>
                <a:cs typeface="Times New Roman" panose="02020603050405020304" pitchFamily="18" charset="0"/>
              </a:rPr>
              <a:t> </a:t>
            </a:r>
            <a:r>
              <a:rPr lang="de-DE" sz="1758" kern="100" dirty="0" err="1">
                <a:latin typeface="Red Hat Display" panose="02010503040201060303"/>
                <a:ea typeface="Calibri" panose="020F0502020204030204" pitchFamily="34" charset="0"/>
                <a:cs typeface="Times New Roman" panose="02020603050405020304" pitchFamily="18" charset="0"/>
              </a:rPr>
              <a:t>mean</a:t>
            </a:r>
            <a:r>
              <a:rPr lang="de-DE" sz="1758" kern="100" dirty="0">
                <a:latin typeface="Red Hat Display" panose="02010503040201060303"/>
                <a:ea typeface="Calibri" panose="020F0502020204030204" pitchFamily="34" charset="0"/>
                <a:cs typeface="Times New Roman" panose="02020603050405020304" pitchFamily="18" charset="0"/>
              </a:rPr>
              <a:t> </a:t>
            </a:r>
            <a:r>
              <a:rPr lang="en-DE" sz="1758" kern="100" dirty="0">
                <a:latin typeface="Red Hat Display" panose="02010503040201060303"/>
                <a:ea typeface="Calibri" panose="020F0502020204030204" pitchFamily="34" charset="0"/>
                <a:cs typeface="Times New Roman" panose="02020603050405020304" pitchFamily="18" charset="0"/>
              </a:rPr>
              <a:t>data was compared to the daily model output, by using the nearest corresponding gridpoint to the whalers</a:t>
            </a:r>
            <a:r>
              <a:rPr lang="en-US" sz="1758" kern="100" dirty="0">
                <a:latin typeface="Red Hat Display" panose="02010503040201060303"/>
                <a:ea typeface="Calibri" panose="020F0502020204030204" pitchFamily="34" charset="0"/>
                <a:cs typeface="Times New Roman" panose="02020603050405020304" pitchFamily="18" charset="0"/>
              </a:rPr>
              <a:t>’</a:t>
            </a:r>
            <a:r>
              <a:rPr lang="en-DE" sz="1758" kern="100" dirty="0">
                <a:latin typeface="Red Hat Display" panose="02010503040201060303"/>
                <a:ea typeface="Calibri" panose="020F0502020204030204" pitchFamily="34" charset="0"/>
                <a:cs typeface="Times New Roman" panose="02020603050405020304" pitchFamily="18" charset="0"/>
              </a:rPr>
              <a:t> data</a:t>
            </a:r>
            <a:r>
              <a:rPr lang="de-DE" sz="1758" kern="100" dirty="0">
                <a:latin typeface="Red Hat Display" panose="02010503040201060303"/>
                <a:ea typeface="Calibri" panose="020F0502020204030204" pitchFamily="34" charset="0"/>
                <a:cs typeface="Times New Roman" panose="02020603050405020304" pitchFamily="18" charset="0"/>
              </a:rPr>
              <a:t>. </a:t>
            </a:r>
          </a:p>
          <a:p>
            <a:pPr algn="just">
              <a:lnSpc>
                <a:spcPct val="107000"/>
              </a:lnSpc>
              <a:spcAft>
                <a:spcPts val="703"/>
              </a:spcAft>
            </a:pPr>
            <a:r>
              <a:rPr lang="de-DE" sz="1758" kern="100" dirty="0">
                <a:latin typeface="Red Hat Display" panose="02010503040201060303"/>
                <a:ea typeface="Calibri" panose="020F0502020204030204" pitchFamily="34" charset="0"/>
                <a:cs typeface="Times New Roman" panose="02020603050405020304" pitchFamily="18" charset="0"/>
              </a:rPr>
              <a:t>Y</a:t>
            </a:r>
            <a:r>
              <a:rPr lang="en-DE" sz="1758" kern="100" dirty="0">
                <a:latin typeface="Red Hat Display" panose="02010503040201060303"/>
                <a:ea typeface="Calibri" panose="020F0502020204030204" pitchFamily="34" charset="0"/>
                <a:cs typeface="Times New Roman" panose="02020603050405020304" pitchFamily="18" charset="0"/>
              </a:rPr>
              <a:t>early </a:t>
            </a:r>
            <a:r>
              <a:rPr lang="en-DE" sz="1758" b="1" kern="100" dirty="0">
                <a:solidFill>
                  <a:schemeClr val="tx2"/>
                </a:solidFill>
                <a:latin typeface="Red Hat Display" panose="02010503040201060303"/>
                <a:ea typeface="Calibri" panose="020F0502020204030204" pitchFamily="34" charset="0"/>
                <a:cs typeface="Times New Roman" panose="02020603050405020304" pitchFamily="18" charset="0"/>
              </a:rPr>
              <a:t>NAO indices </a:t>
            </a:r>
            <a:r>
              <a:rPr lang="en-DE" sz="1758" kern="100" dirty="0">
                <a:latin typeface="Red Hat Display" panose="02010503040201060303"/>
                <a:ea typeface="Calibri" panose="020F0502020204030204" pitchFamily="34" charset="0"/>
                <a:cs typeface="Times New Roman" panose="02020603050405020304" pitchFamily="18" charset="0"/>
              </a:rPr>
              <a:t>were obtained by taking the index mean for every year and scaling the result</a:t>
            </a:r>
            <a:r>
              <a:rPr lang="de-DE" sz="1758" kern="100" dirty="0">
                <a:latin typeface="Red Hat Display" panose="02010503040201060303"/>
                <a:ea typeface="Calibri" panose="020F0502020204030204" pitchFamily="34" charset="0"/>
                <a:cs typeface="Times New Roman" panose="02020603050405020304" pitchFamily="18" charset="0"/>
              </a:rPr>
              <a:t>.</a:t>
            </a:r>
            <a:r>
              <a:rPr lang="en-DE" sz="1758" kern="100" dirty="0">
                <a:latin typeface="Red Hat Display" panose="02010503040201060303"/>
                <a:ea typeface="Calibri" panose="020F0502020204030204" pitchFamily="34" charset="0"/>
                <a:cs typeface="Times New Roman" panose="02020603050405020304" pitchFamily="18" charset="0"/>
              </a:rPr>
              <a:t> </a:t>
            </a:r>
            <a:r>
              <a:rPr lang="de-DE" sz="1758" kern="100" dirty="0">
                <a:latin typeface="Red Hat Display" panose="02010503040201060303"/>
                <a:ea typeface="Calibri" panose="020F0502020204030204" pitchFamily="34" charset="0"/>
                <a:cs typeface="Times New Roman" panose="02020603050405020304" pitchFamily="18" charset="0"/>
              </a:rPr>
              <a:t>Y</a:t>
            </a:r>
            <a:r>
              <a:rPr lang="en-DE" sz="1758" kern="100" dirty="0">
                <a:latin typeface="Red Hat Display" panose="02010503040201060303"/>
                <a:ea typeface="Calibri" panose="020F0502020204030204" pitchFamily="34" charset="0"/>
                <a:cs typeface="Times New Roman" panose="02020603050405020304" pitchFamily="18" charset="0"/>
              </a:rPr>
              <a:t>ears with a</a:t>
            </a:r>
            <a:r>
              <a:rPr lang="de-DE" sz="1758" kern="100" dirty="0">
                <a:latin typeface="Red Hat Display" panose="02010503040201060303"/>
                <a:ea typeface="Calibri" panose="020F0502020204030204" pitchFamily="34" charset="0"/>
                <a:cs typeface="Times New Roman" panose="02020603050405020304" pitchFamily="18" charset="0"/>
              </a:rPr>
              <a:t> scaled</a:t>
            </a:r>
            <a:r>
              <a:rPr lang="en-DE" sz="1758" kern="100" dirty="0">
                <a:latin typeface="Red Hat Display" panose="02010503040201060303"/>
                <a:ea typeface="Calibri" panose="020F0502020204030204" pitchFamily="34" charset="0"/>
                <a:cs typeface="Times New Roman" panose="02020603050405020304" pitchFamily="18" charset="0"/>
              </a:rPr>
              <a:t> index value ≥</a:t>
            </a:r>
            <a:r>
              <a:rPr lang="de-DE" sz="1758" kern="100" dirty="0">
                <a:latin typeface="Red Hat Display" panose="02010503040201060303"/>
                <a:ea typeface="Calibri" panose="020F0502020204030204" pitchFamily="34" charset="0"/>
                <a:cs typeface="Times New Roman" panose="02020603050405020304" pitchFamily="18" charset="0"/>
              </a:rPr>
              <a:t>0.5</a:t>
            </a:r>
            <a:r>
              <a:rPr lang="en-DE" sz="1758" kern="100" dirty="0">
                <a:latin typeface="Red Hat Display" panose="02010503040201060303"/>
                <a:ea typeface="Calibri" panose="020F0502020204030204" pitchFamily="34" charset="0"/>
                <a:cs typeface="Times New Roman" panose="02020603050405020304" pitchFamily="18" charset="0"/>
              </a:rPr>
              <a:t> were seen as NAO positive years, years with a</a:t>
            </a:r>
            <a:r>
              <a:rPr lang="de-DE" sz="1758" kern="100" dirty="0">
                <a:latin typeface="Red Hat Display" panose="02010503040201060303"/>
                <a:ea typeface="Calibri" panose="020F0502020204030204" pitchFamily="34" charset="0"/>
                <a:cs typeface="Times New Roman" panose="02020603050405020304" pitchFamily="18" charset="0"/>
              </a:rPr>
              <a:t> </a:t>
            </a:r>
            <a:r>
              <a:rPr lang="de-DE" sz="1758" kern="100" dirty="0" err="1">
                <a:latin typeface="Red Hat Display" panose="02010503040201060303"/>
                <a:ea typeface="Calibri" panose="020F0502020204030204" pitchFamily="34" charset="0"/>
                <a:cs typeface="Times New Roman" panose="02020603050405020304" pitchFamily="18" charset="0"/>
              </a:rPr>
              <a:t>scaled</a:t>
            </a:r>
            <a:r>
              <a:rPr lang="en-DE" sz="1758" kern="100" dirty="0">
                <a:latin typeface="Red Hat Display" panose="02010503040201060303"/>
                <a:ea typeface="Calibri" panose="020F0502020204030204" pitchFamily="34" charset="0"/>
                <a:cs typeface="Times New Roman" panose="02020603050405020304" pitchFamily="18" charset="0"/>
              </a:rPr>
              <a:t> index value of ≤</a:t>
            </a:r>
            <a:r>
              <a:rPr lang="de-DE" sz="1758" kern="100" dirty="0">
                <a:latin typeface="Red Hat Display" panose="02010503040201060303"/>
                <a:ea typeface="Calibri" panose="020F0502020204030204" pitchFamily="34" charset="0"/>
                <a:cs typeface="Times New Roman" panose="02020603050405020304" pitchFamily="18" charset="0"/>
              </a:rPr>
              <a:t>-0.5 </a:t>
            </a:r>
            <a:r>
              <a:rPr lang="en-DE" sz="1758" kern="100" dirty="0">
                <a:latin typeface="Red Hat Display" panose="02010503040201060303"/>
                <a:ea typeface="Calibri" panose="020F0502020204030204" pitchFamily="34" charset="0"/>
                <a:cs typeface="Times New Roman" panose="02020603050405020304" pitchFamily="18" charset="0"/>
              </a:rPr>
              <a:t>were seen as NAO negative years.</a:t>
            </a:r>
            <a:r>
              <a:rPr lang="de-DE" sz="1758" kern="100" dirty="0">
                <a:latin typeface="Red Hat Display" panose="02010503040201060303"/>
                <a:ea typeface="Calibri" panose="020F0502020204030204" pitchFamily="34" charset="0"/>
                <a:cs typeface="Times New Roman" panose="02020603050405020304" pitchFamily="18" charset="0"/>
              </a:rPr>
              <a:t> </a:t>
            </a:r>
            <a:r>
              <a:rPr lang="en-DE" sz="1758" kern="100" dirty="0">
                <a:latin typeface="Red Hat Display" panose="02010503040201060303"/>
                <a:ea typeface="Calibri" panose="020F0502020204030204" pitchFamily="34" charset="0"/>
                <a:cs typeface="Times New Roman" panose="02020603050405020304" pitchFamily="18" charset="0"/>
              </a:rPr>
              <a:t>The NAO analysis was done with multiple NAO indices, the results were all similar</a:t>
            </a:r>
            <a:r>
              <a:rPr lang="en-US" sz="1758" kern="100" dirty="0">
                <a:latin typeface="Red Hat Display" panose="02010503040201060303"/>
                <a:ea typeface="Calibri" panose="020F0502020204030204" pitchFamily="34" charset="0"/>
                <a:cs typeface="Times New Roman" panose="02020603050405020304" pitchFamily="18" charset="0"/>
              </a:rPr>
              <a:t>, and results only for the index Updated from Jones et al. (1997) is shown (</a:t>
            </a:r>
            <a:r>
              <a:rPr lang="en-US" sz="1758" b="1" kern="100" dirty="0">
                <a:latin typeface="Red Hat Display" panose="02010503040201060303"/>
                <a:ea typeface="Calibri" panose="020F0502020204030204" pitchFamily="34" charset="0"/>
                <a:cs typeface="Times New Roman" panose="02020603050405020304" pitchFamily="18" charset="0"/>
              </a:rPr>
              <a:t>Figure 1</a:t>
            </a:r>
            <a:r>
              <a:rPr lang="en-US" sz="1758" kern="100" dirty="0">
                <a:latin typeface="Red Hat Display" panose="02010503040201060303"/>
                <a:ea typeface="Calibri" panose="020F0502020204030204" pitchFamily="34" charset="0"/>
                <a:cs typeface="Times New Roman" panose="02020603050405020304" pitchFamily="18" charset="0"/>
              </a:rPr>
              <a:t>)</a:t>
            </a:r>
            <a:r>
              <a:rPr lang="de-DE" sz="1758" kern="100" dirty="0">
                <a:latin typeface="Red Hat Display" panose="02010503040201060303"/>
                <a:ea typeface="Calibri" panose="020F0502020204030204" pitchFamily="34" charset="0"/>
                <a:cs typeface="Times New Roman" panose="02020603050405020304" pitchFamily="18" charset="0"/>
              </a:rPr>
              <a:t>.</a:t>
            </a:r>
            <a:endParaRPr lang="en-DE" sz="1758" kern="100" dirty="0">
              <a:latin typeface="Red Hat Display" panose="02010503040201060303"/>
              <a:ea typeface="Calibri" panose="020F0502020204030204" pitchFamily="34" charset="0"/>
              <a:cs typeface="Times New Roman" panose="02020603050405020304" pitchFamily="18" charset="0"/>
            </a:endParaRPr>
          </a:p>
          <a:p>
            <a:pPr algn="just">
              <a:lnSpc>
                <a:spcPct val="107000"/>
              </a:lnSpc>
              <a:spcAft>
                <a:spcPts val="703"/>
              </a:spcAft>
            </a:pPr>
            <a:r>
              <a:rPr lang="en-DE" sz="1758" kern="100" dirty="0">
                <a:latin typeface="Red Hat Display" panose="02010503040201060303"/>
                <a:ea typeface="Calibri" panose="020F0502020204030204" pitchFamily="34" charset="0"/>
                <a:cs typeface="Times New Roman" panose="02020603050405020304" pitchFamily="18" charset="0"/>
              </a:rPr>
              <a:t>Data analysis and visualization </a:t>
            </a:r>
            <a:r>
              <a:rPr lang="de-DE" sz="1758" kern="100" dirty="0" err="1">
                <a:latin typeface="Red Hat Display" panose="02010503040201060303"/>
                <a:ea typeface="Calibri" panose="020F0502020204030204" pitchFamily="34" charset="0"/>
                <a:cs typeface="Times New Roman" panose="02020603050405020304" pitchFamily="18" charset="0"/>
              </a:rPr>
              <a:t>were</a:t>
            </a:r>
            <a:r>
              <a:rPr lang="en-DE" sz="1758" kern="100" dirty="0">
                <a:latin typeface="Red Hat Display" panose="02010503040201060303"/>
                <a:ea typeface="Calibri" panose="020F0502020204030204" pitchFamily="34" charset="0"/>
                <a:cs typeface="Times New Roman" panose="02020603050405020304" pitchFamily="18" charset="0"/>
              </a:rPr>
              <a:t> done in </a:t>
            </a:r>
            <a:r>
              <a:rPr lang="de-DE" sz="1758" kern="100" dirty="0">
                <a:latin typeface="Red Hat Display" panose="02010503040201060303"/>
                <a:ea typeface="Calibri" panose="020F0502020204030204" pitchFamily="34" charset="0"/>
                <a:cs typeface="Times New Roman" panose="02020603050405020304" pitchFamily="18" charset="0"/>
              </a:rPr>
              <a:t>Python.</a:t>
            </a:r>
            <a:endParaRPr lang="en-DE" sz="1758" kern="100" dirty="0">
              <a:latin typeface="Red Hat Display" panose="02010503040201060303"/>
              <a:ea typeface="Calibri" panose="020F0502020204030204" pitchFamily="34" charset="0"/>
              <a:cs typeface="Times New Roman" panose="02020603050405020304" pitchFamily="18" charset="0"/>
            </a:endParaRPr>
          </a:p>
          <a:p>
            <a:pPr>
              <a:lnSpc>
                <a:spcPct val="107000"/>
              </a:lnSpc>
              <a:spcAft>
                <a:spcPts val="703"/>
              </a:spcAft>
            </a:pPr>
            <a:r>
              <a:rPr lang="en-DE" sz="1758" kern="100" dirty="0">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703"/>
              </a:spcAft>
            </a:pPr>
            <a:r>
              <a:rPr lang="en-DE" sz="1758" kern="100" dirty="0">
                <a:latin typeface="Calibri" panose="020F0502020204030204" pitchFamily="34" charset="0"/>
                <a:ea typeface="Calibri" panose="020F0502020204030204" pitchFamily="34" charset="0"/>
                <a:cs typeface="Times New Roman" panose="02020603050405020304" pitchFamily="18" charset="0"/>
              </a:rPr>
              <a:t> </a:t>
            </a:r>
          </a:p>
          <a:p>
            <a:pPr>
              <a:lnSpc>
                <a:spcPct val="150000"/>
              </a:lnSpc>
              <a:spcAft>
                <a:spcPts val="1050"/>
              </a:spcAft>
            </a:pPr>
            <a:endParaRPr lang="en-GB" sz="1758" dirty="0">
              <a:latin typeface="Calibri" panose="020F0502020204030204" pitchFamily="34" charset="0"/>
              <a:ea typeface="Calibri" panose="020F0502020204030204" pitchFamily="34" charset="0"/>
              <a:cs typeface="Times New Roman" panose="02020603050405020304" pitchFamily="18" charset="0"/>
            </a:endParaRPr>
          </a:p>
          <a:p>
            <a:pPr>
              <a:lnSpc>
                <a:spcPct val="150000"/>
              </a:lnSpc>
              <a:spcAft>
                <a:spcPts val="1050"/>
              </a:spcAft>
            </a:pPr>
            <a:endParaRPr lang="fr-FR" sz="2450" baseline="30000" dirty="0">
              <a:latin typeface="Red Hat Display" panose="02010503040201060303" pitchFamily="2" charset="77"/>
            </a:endParaRPr>
          </a:p>
        </p:txBody>
      </p:sp>
      <p:sp>
        <p:nvSpPr>
          <p:cNvPr id="3" name="TextBox 18">
            <a:extLst>
              <a:ext uri="{FF2B5EF4-FFF2-40B4-BE49-F238E27FC236}">
                <a16:creationId xmlns:a16="http://schemas.microsoft.com/office/drawing/2014/main" id="{B65EF166-3775-86CB-9851-50AA4D8ACECE}"/>
              </a:ext>
            </a:extLst>
          </p:cNvPr>
          <p:cNvSpPr txBox="1"/>
          <p:nvPr/>
        </p:nvSpPr>
        <p:spPr>
          <a:xfrm>
            <a:off x="38410607" y="23683869"/>
            <a:ext cx="10277365" cy="2122761"/>
          </a:xfrm>
          <a:prstGeom prst="rect">
            <a:avLst/>
          </a:prstGeom>
          <a:noFill/>
        </p:spPr>
        <p:txBody>
          <a:bodyPr wrap="square" rtlCol="0">
            <a:spAutoFit/>
          </a:bodyPr>
          <a:lstStyle/>
          <a:p>
            <a:pPr algn="just"/>
            <a:r>
              <a:rPr lang="en-US" sz="5949" b="1" dirty="0">
                <a:solidFill>
                  <a:schemeClr val="tx2"/>
                </a:solidFill>
                <a:latin typeface="Red Hat Display" panose="02010503040201060303" pitchFamily="2" charset="77"/>
              </a:rPr>
              <a:t>REFERENCES</a:t>
            </a:r>
          </a:p>
          <a:p>
            <a:pPr algn="just">
              <a:spcAft>
                <a:spcPts val="1050"/>
              </a:spcAft>
            </a:pPr>
            <a:r>
              <a:rPr lang="en-GB" sz="1582" dirty="0">
                <a:latin typeface="Red Hat Display" panose="02010503040201060303" pitchFamily="2" charset="77"/>
                <a:sym typeface="Wingdings" panose="05000000000000000000" pitchFamily="2" charset="2"/>
              </a:rPr>
              <a:t>Jones, P.D. et al. 1997: Extension to the North Atlantic Oscillation using early instrumental pre., </a:t>
            </a:r>
            <a:r>
              <a:rPr lang="en-GB" sz="1582" dirty="0" err="1">
                <a:latin typeface="Red Hat Display" panose="02010503040201060303" pitchFamily="2" charset="77"/>
                <a:sym typeface="Wingdings" panose="05000000000000000000" pitchFamily="2" charset="2"/>
              </a:rPr>
              <a:t>Jónssonssure</a:t>
            </a:r>
            <a:r>
              <a:rPr lang="en-GB" sz="1582" dirty="0">
                <a:latin typeface="Red Hat Display" panose="02010503040201060303" pitchFamily="2" charset="77"/>
                <a:sym typeface="Wingdings" panose="05000000000000000000" pitchFamily="2" charset="2"/>
              </a:rPr>
              <a:t> observations from Gibraltar and South-West Iceland. Int. J. </a:t>
            </a:r>
            <a:r>
              <a:rPr lang="en-GB" sz="1582" dirty="0" err="1">
                <a:latin typeface="Red Hat Display" panose="02010503040201060303" pitchFamily="2" charset="77"/>
                <a:sym typeface="Wingdings" panose="05000000000000000000" pitchFamily="2" charset="2"/>
              </a:rPr>
              <a:t>Climatol</a:t>
            </a:r>
            <a:r>
              <a:rPr lang="en-GB" sz="1582" dirty="0">
                <a:latin typeface="Red Hat Display" panose="02010503040201060303" pitchFamily="2" charset="77"/>
                <a:sym typeface="Wingdings" panose="05000000000000000000" pitchFamily="2" charset="2"/>
              </a:rPr>
              <a:t>. 17, 1433-1450.</a:t>
            </a:r>
          </a:p>
          <a:p>
            <a:pPr>
              <a:spcAft>
                <a:spcPts val="1050"/>
              </a:spcAft>
            </a:pPr>
            <a:r>
              <a:rPr lang="de-DE" sz="1582" dirty="0">
                <a:latin typeface="Red Hat Display" panose="02010503040201060303" pitchFamily="2" charset="77"/>
                <a:sym typeface="Wingdings" panose="05000000000000000000" pitchFamily="2" charset="2"/>
              </a:rPr>
              <a:t>Compo, G.P. et al., 2011:  The Twentieth Century Reanalysis Project. Quarterly J. Roy. </a:t>
            </a:r>
            <a:r>
              <a:rPr lang="de-DE" sz="1582" dirty="0" err="1">
                <a:latin typeface="Red Hat Display" panose="02010503040201060303" pitchFamily="2" charset="77"/>
                <a:sym typeface="Wingdings" panose="05000000000000000000" pitchFamily="2" charset="2"/>
              </a:rPr>
              <a:t>Meteorol</a:t>
            </a:r>
            <a:r>
              <a:rPr lang="de-DE" sz="1582" dirty="0">
                <a:latin typeface="Red Hat Display" panose="02010503040201060303" pitchFamily="2" charset="77"/>
                <a:sym typeface="Wingdings" panose="05000000000000000000" pitchFamily="2" charset="2"/>
              </a:rPr>
              <a:t>. Soc., 137, 1-28. DOI: 10.1002/qj.776/.</a:t>
            </a:r>
          </a:p>
        </p:txBody>
      </p:sp>
      <p:grpSp>
        <p:nvGrpSpPr>
          <p:cNvPr id="28" name="Gruppieren 27">
            <a:extLst>
              <a:ext uri="{FF2B5EF4-FFF2-40B4-BE49-F238E27FC236}">
                <a16:creationId xmlns:a16="http://schemas.microsoft.com/office/drawing/2014/main" id="{0F662F7B-6690-124F-B1D5-B72EA06C7B98}"/>
              </a:ext>
            </a:extLst>
          </p:cNvPr>
          <p:cNvGrpSpPr/>
          <p:nvPr/>
        </p:nvGrpSpPr>
        <p:grpSpPr>
          <a:xfrm>
            <a:off x="2112163" y="19690239"/>
            <a:ext cx="9710228" cy="6445589"/>
            <a:chOff x="1728187" y="21970618"/>
            <a:chExt cx="11045103" cy="7331671"/>
          </a:xfrm>
        </p:grpSpPr>
        <p:pic>
          <p:nvPicPr>
            <p:cNvPr id="20" name="Grafik 19">
              <a:extLst>
                <a:ext uri="{FF2B5EF4-FFF2-40B4-BE49-F238E27FC236}">
                  <a16:creationId xmlns:a16="http://schemas.microsoft.com/office/drawing/2014/main" id="{1A08A2FC-66B8-F828-DF10-52119165B842}"/>
                </a:ext>
              </a:extLst>
            </p:cNvPr>
            <p:cNvPicPr>
              <a:picLocks noChangeAspect="1"/>
            </p:cNvPicPr>
            <p:nvPr/>
          </p:nvPicPr>
          <p:blipFill rotWithShape="1">
            <a:blip r:embed="rId10"/>
            <a:srcRect l="7008" r="6369"/>
            <a:stretch/>
          </p:blipFill>
          <p:spPr>
            <a:xfrm>
              <a:off x="1728187" y="25171388"/>
              <a:ext cx="10615046" cy="3063614"/>
            </a:xfrm>
            <a:prstGeom prst="rect">
              <a:avLst/>
            </a:prstGeom>
          </p:spPr>
        </p:pic>
        <p:sp>
          <p:nvSpPr>
            <p:cNvPr id="10" name="Textfeld 9">
              <a:extLst>
                <a:ext uri="{FF2B5EF4-FFF2-40B4-BE49-F238E27FC236}">
                  <a16:creationId xmlns:a16="http://schemas.microsoft.com/office/drawing/2014/main" id="{C7B3D945-84A6-AAEB-A523-51251BD0EEA3}"/>
                </a:ext>
              </a:extLst>
            </p:cNvPr>
            <p:cNvSpPr txBox="1"/>
            <p:nvPr/>
          </p:nvSpPr>
          <p:spPr>
            <a:xfrm>
              <a:off x="1822078" y="28089530"/>
              <a:ext cx="10951212" cy="1212759"/>
            </a:xfrm>
            <a:prstGeom prst="rect">
              <a:avLst/>
            </a:prstGeom>
            <a:noFill/>
          </p:spPr>
          <p:txBody>
            <a:bodyPr wrap="square" rtlCol="0">
              <a:spAutoFit/>
            </a:bodyPr>
            <a:lstStyle/>
            <a:p>
              <a:pPr algn="just"/>
              <a:r>
                <a:rPr lang="de-DE" sz="1582" b="1" dirty="0">
                  <a:solidFill>
                    <a:schemeClr val="tx2"/>
                  </a:solidFill>
                  <a:latin typeface="Red Hat Display" panose="02010503040201060303"/>
                </a:rPr>
                <a:t>Figure 1</a:t>
              </a:r>
              <a:r>
                <a:rPr lang="de-DE" sz="1582" b="1" dirty="0">
                  <a:latin typeface="Red Hat Display" panose="02010503040201060303"/>
                </a:rPr>
                <a:t> </a:t>
              </a:r>
              <a:r>
                <a:rPr lang="de-DE" sz="1582" dirty="0">
                  <a:latin typeface="Red Hat Display" panose="02010503040201060303"/>
                </a:rPr>
                <a:t>| </a:t>
              </a:r>
              <a:r>
                <a:rPr lang="de-DE" sz="1582" b="1" dirty="0">
                  <a:solidFill>
                    <a:schemeClr val="tx2"/>
                  </a:solidFill>
                  <a:latin typeface="Red Hat Display" panose="02010503040201060303"/>
                </a:rPr>
                <a:t>a</a:t>
              </a:r>
              <a:r>
                <a:rPr lang="de-DE" sz="1582" dirty="0">
                  <a:latin typeface="Red Hat Display" panose="02010503040201060303"/>
                </a:rPr>
                <a:t>, </a:t>
              </a:r>
              <a:r>
                <a:rPr lang="de-DE" sz="1582" b="1" dirty="0">
                  <a:solidFill>
                    <a:schemeClr val="tx2"/>
                  </a:solidFill>
                  <a:latin typeface="Red Hat Display" panose="02010503040201060303"/>
                </a:rPr>
                <a:t>NAO </a:t>
              </a:r>
              <a:r>
                <a:rPr lang="de-DE" sz="1582" b="1" dirty="0" err="1">
                  <a:solidFill>
                    <a:schemeClr val="tx2"/>
                  </a:solidFill>
                  <a:latin typeface="Red Hat Display" panose="02010503040201060303"/>
                </a:rPr>
                <a:t>index</a:t>
              </a:r>
              <a:r>
                <a:rPr lang="de-DE" sz="1582" b="1" dirty="0">
                  <a:solidFill>
                    <a:schemeClr val="tx2"/>
                  </a:solidFill>
                  <a:latin typeface="Red Hat Display" panose="02010503040201060303"/>
                </a:rPr>
                <a:t> </a:t>
              </a:r>
              <a:r>
                <a:rPr lang="de-DE" sz="1582" dirty="0">
                  <a:latin typeface="Red Hat Display" panose="02010503040201060303"/>
                </a:rPr>
                <a:t>(</a:t>
              </a:r>
              <a:r>
                <a:rPr lang="da-DK" sz="1582" dirty="0">
                  <a:latin typeface="Red Hat Display" panose="02010503040201060303"/>
                </a:rPr>
                <a:t>Updated from Jones et al. 1997); red bars indicate a positive NAO phase, blue bars a negative NAO phase. </a:t>
              </a:r>
              <a:r>
                <a:rPr lang="da-DK" sz="1582" b="1" dirty="0">
                  <a:solidFill>
                    <a:schemeClr val="tx2"/>
                  </a:solidFill>
                  <a:latin typeface="Red Hat Display" panose="02010503040201060303"/>
                </a:rPr>
                <a:t>b</a:t>
              </a:r>
              <a:r>
                <a:rPr lang="da-DK" sz="1582" dirty="0">
                  <a:latin typeface="Red Hat Display" panose="02010503040201060303"/>
                </a:rPr>
                <a:t>, </a:t>
              </a:r>
              <a:r>
                <a:rPr lang="da-DK" sz="1582" b="1" dirty="0">
                  <a:solidFill>
                    <a:schemeClr val="tx2"/>
                  </a:solidFill>
                  <a:latin typeface="Red Hat Display" panose="02010503040201060303"/>
                </a:rPr>
                <a:t>Annual mean wind anomalies in NAO-positive years</a:t>
              </a:r>
              <a:r>
                <a:rPr lang="da-DK" sz="1582" dirty="0">
                  <a:latin typeface="Red Hat Display" panose="02010503040201060303"/>
                </a:rPr>
                <a:t> indicated by color shading. Arrows indicate the wind anomalies in u- and v-wind directions. </a:t>
              </a:r>
              <a:r>
                <a:rPr lang="da-DK" sz="1582" b="1" dirty="0">
                  <a:solidFill>
                    <a:schemeClr val="tx2"/>
                  </a:solidFill>
                  <a:latin typeface="Red Hat Display" panose="02010503040201060303"/>
                </a:rPr>
                <a:t>c</a:t>
              </a:r>
              <a:r>
                <a:rPr lang="da-DK" sz="1582" dirty="0">
                  <a:latin typeface="Red Hat Display" panose="02010503040201060303"/>
                </a:rPr>
                <a:t>, </a:t>
              </a:r>
              <a:r>
                <a:rPr lang="da-DK" sz="1582" b="1" dirty="0">
                  <a:solidFill>
                    <a:schemeClr val="tx2"/>
                  </a:solidFill>
                  <a:latin typeface="Red Hat Display" panose="02010503040201060303"/>
                </a:rPr>
                <a:t>Wind anomalies in NAO negative years</a:t>
              </a:r>
              <a:r>
                <a:rPr lang="da-DK" sz="1582" dirty="0">
                  <a:latin typeface="Red Hat Display" panose="02010503040201060303"/>
                </a:rPr>
                <a:t>. Colors and arrows as in b.</a:t>
              </a:r>
              <a:endParaRPr lang="en-DE" sz="1582" dirty="0">
                <a:latin typeface="Red Hat Display" panose="02010503040201060303"/>
              </a:endParaRPr>
            </a:p>
          </p:txBody>
        </p:sp>
        <p:pic>
          <p:nvPicPr>
            <p:cNvPr id="18" name="Grafik 17">
              <a:extLst>
                <a:ext uri="{FF2B5EF4-FFF2-40B4-BE49-F238E27FC236}">
                  <a16:creationId xmlns:a16="http://schemas.microsoft.com/office/drawing/2014/main" id="{F4A34CB5-708B-2206-2858-B75D43FE9718}"/>
                </a:ext>
              </a:extLst>
            </p:cNvPr>
            <p:cNvPicPr>
              <a:picLocks noChangeAspect="1"/>
            </p:cNvPicPr>
            <p:nvPr/>
          </p:nvPicPr>
          <p:blipFill>
            <a:blip r:embed="rId11"/>
            <a:stretch>
              <a:fillRect/>
            </a:stretch>
          </p:blipFill>
          <p:spPr>
            <a:xfrm>
              <a:off x="1875667" y="21970618"/>
              <a:ext cx="10045860" cy="3210620"/>
            </a:xfrm>
            <a:prstGeom prst="rect">
              <a:avLst/>
            </a:prstGeom>
          </p:spPr>
        </p:pic>
        <p:sp>
          <p:nvSpPr>
            <p:cNvPr id="21" name="Textfeld 20">
              <a:extLst>
                <a:ext uri="{FF2B5EF4-FFF2-40B4-BE49-F238E27FC236}">
                  <a16:creationId xmlns:a16="http://schemas.microsoft.com/office/drawing/2014/main" id="{CAF555E3-BF32-EECA-C3ED-2D208E1A7834}"/>
                </a:ext>
              </a:extLst>
            </p:cNvPr>
            <p:cNvSpPr txBox="1"/>
            <p:nvPr/>
          </p:nvSpPr>
          <p:spPr>
            <a:xfrm>
              <a:off x="2215778" y="21970618"/>
              <a:ext cx="299907" cy="381961"/>
            </a:xfrm>
            <a:prstGeom prst="rect">
              <a:avLst/>
            </a:prstGeom>
            <a:noFill/>
          </p:spPr>
          <p:txBody>
            <a:bodyPr wrap="square" rtlCol="0">
              <a:spAutoFit/>
            </a:bodyPr>
            <a:lstStyle/>
            <a:p>
              <a:r>
                <a:rPr lang="de-DE" sz="1582" b="1" dirty="0"/>
                <a:t>a</a:t>
              </a:r>
              <a:endParaRPr lang="en-DE" sz="1582" b="1" dirty="0"/>
            </a:p>
          </p:txBody>
        </p:sp>
        <p:sp>
          <p:nvSpPr>
            <p:cNvPr id="25" name="Textfeld 24">
              <a:extLst>
                <a:ext uri="{FF2B5EF4-FFF2-40B4-BE49-F238E27FC236}">
                  <a16:creationId xmlns:a16="http://schemas.microsoft.com/office/drawing/2014/main" id="{3123E519-A3CE-1BE8-53F2-5E1161EA8A0C}"/>
                </a:ext>
              </a:extLst>
            </p:cNvPr>
            <p:cNvSpPr txBox="1"/>
            <p:nvPr/>
          </p:nvSpPr>
          <p:spPr>
            <a:xfrm>
              <a:off x="6708290" y="25298376"/>
              <a:ext cx="299907" cy="381961"/>
            </a:xfrm>
            <a:prstGeom prst="rect">
              <a:avLst/>
            </a:prstGeom>
            <a:noFill/>
          </p:spPr>
          <p:txBody>
            <a:bodyPr wrap="square" rtlCol="0">
              <a:spAutoFit/>
            </a:bodyPr>
            <a:lstStyle/>
            <a:p>
              <a:r>
                <a:rPr lang="de-DE" sz="1582" b="1" dirty="0"/>
                <a:t>c</a:t>
              </a:r>
              <a:endParaRPr lang="en-DE" sz="1582" b="1" dirty="0"/>
            </a:p>
          </p:txBody>
        </p:sp>
        <p:sp>
          <p:nvSpPr>
            <p:cNvPr id="27" name="Textfeld 26">
              <a:extLst>
                <a:ext uri="{FF2B5EF4-FFF2-40B4-BE49-F238E27FC236}">
                  <a16:creationId xmlns:a16="http://schemas.microsoft.com/office/drawing/2014/main" id="{96D1361D-60E1-CFBD-3536-9946E917291C}"/>
                </a:ext>
              </a:extLst>
            </p:cNvPr>
            <p:cNvSpPr txBox="1"/>
            <p:nvPr/>
          </p:nvSpPr>
          <p:spPr>
            <a:xfrm>
              <a:off x="2159193" y="25323776"/>
              <a:ext cx="299907" cy="381961"/>
            </a:xfrm>
            <a:prstGeom prst="rect">
              <a:avLst/>
            </a:prstGeom>
            <a:noFill/>
          </p:spPr>
          <p:txBody>
            <a:bodyPr wrap="square" rtlCol="0">
              <a:spAutoFit/>
            </a:bodyPr>
            <a:lstStyle/>
            <a:p>
              <a:r>
                <a:rPr lang="de-DE" sz="1582" b="1" dirty="0"/>
                <a:t>b</a:t>
              </a:r>
              <a:endParaRPr lang="en-DE" sz="1582" b="1" dirty="0"/>
            </a:p>
          </p:txBody>
        </p:sp>
      </p:grpSp>
      <p:grpSp>
        <p:nvGrpSpPr>
          <p:cNvPr id="74" name="Gruppieren 73">
            <a:extLst>
              <a:ext uri="{FF2B5EF4-FFF2-40B4-BE49-F238E27FC236}">
                <a16:creationId xmlns:a16="http://schemas.microsoft.com/office/drawing/2014/main" id="{292A900E-AA37-E578-19A8-93984858026F}"/>
              </a:ext>
            </a:extLst>
          </p:cNvPr>
          <p:cNvGrpSpPr/>
          <p:nvPr/>
        </p:nvGrpSpPr>
        <p:grpSpPr>
          <a:xfrm>
            <a:off x="37928458" y="5359288"/>
            <a:ext cx="9431104" cy="10788518"/>
            <a:chOff x="39987679" y="6759343"/>
            <a:chExt cx="9049747" cy="10858697"/>
          </a:xfrm>
        </p:grpSpPr>
        <p:pic>
          <p:nvPicPr>
            <p:cNvPr id="70" name="Bildplatzhalter 31">
              <a:extLst>
                <a:ext uri="{FF2B5EF4-FFF2-40B4-BE49-F238E27FC236}">
                  <a16:creationId xmlns:a16="http://schemas.microsoft.com/office/drawing/2014/main" id="{4F471A06-57BD-F98E-4B13-4621B9C74AF1}"/>
                </a:ext>
              </a:extLst>
            </p:cNvPr>
            <p:cNvPicPr>
              <a:picLocks noChangeAspect="1"/>
            </p:cNvPicPr>
            <p:nvPr/>
          </p:nvPicPr>
          <p:blipFill rotWithShape="1">
            <a:blip r:embed="rId12"/>
            <a:srcRect l="352" r="4241"/>
            <a:stretch/>
          </p:blipFill>
          <p:spPr>
            <a:xfrm>
              <a:off x="40284136" y="6759343"/>
              <a:ext cx="4260876" cy="3970982"/>
            </a:xfrm>
            <a:prstGeom prst="rect">
              <a:avLst/>
            </a:prstGeom>
            <a:pattFill prst="pct75">
              <a:fgClr>
                <a:schemeClr val="accent1"/>
              </a:fgClr>
              <a:bgClr>
                <a:schemeClr val="bg1"/>
              </a:bgClr>
            </a:pattFill>
          </p:spPr>
        </p:pic>
        <p:pic>
          <p:nvPicPr>
            <p:cNvPr id="51" name="Grafik 50">
              <a:extLst>
                <a:ext uri="{FF2B5EF4-FFF2-40B4-BE49-F238E27FC236}">
                  <a16:creationId xmlns:a16="http://schemas.microsoft.com/office/drawing/2014/main" id="{FEFD556B-3A90-B584-9328-6B01CE0F6A2E}"/>
                </a:ext>
              </a:extLst>
            </p:cNvPr>
            <p:cNvPicPr>
              <a:picLocks noChangeAspect="1"/>
            </p:cNvPicPr>
            <p:nvPr/>
          </p:nvPicPr>
          <p:blipFill rotWithShape="1">
            <a:blip r:embed="rId13"/>
            <a:srcRect l="3330" t="8346" r="6348"/>
            <a:stretch/>
          </p:blipFill>
          <p:spPr>
            <a:xfrm>
              <a:off x="39987679" y="10676726"/>
              <a:ext cx="8344892" cy="5211024"/>
            </a:xfrm>
            <a:prstGeom prst="rect">
              <a:avLst/>
            </a:prstGeom>
          </p:spPr>
        </p:pic>
        <p:sp>
          <p:nvSpPr>
            <p:cNvPr id="56" name="Textfeld 55">
              <a:extLst>
                <a:ext uri="{FF2B5EF4-FFF2-40B4-BE49-F238E27FC236}">
                  <a16:creationId xmlns:a16="http://schemas.microsoft.com/office/drawing/2014/main" id="{DBDCFF8F-3224-E899-97E8-F2AD9358AAE9}"/>
                </a:ext>
              </a:extLst>
            </p:cNvPr>
            <p:cNvSpPr txBox="1"/>
            <p:nvPr/>
          </p:nvSpPr>
          <p:spPr>
            <a:xfrm>
              <a:off x="40284136" y="15851414"/>
              <a:ext cx="8753290" cy="1766626"/>
            </a:xfrm>
            <a:prstGeom prst="rect">
              <a:avLst/>
            </a:prstGeom>
            <a:noFill/>
          </p:spPr>
          <p:txBody>
            <a:bodyPr wrap="square" rtlCol="0">
              <a:spAutoFit/>
            </a:bodyPr>
            <a:lstStyle/>
            <a:p>
              <a:pPr algn="just"/>
              <a:r>
                <a:rPr lang="de-DE" sz="1582" b="1" dirty="0">
                  <a:solidFill>
                    <a:schemeClr val="tx2"/>
                  </a:solidFill>
                </a:rPr>
                <a:t>Figure 3 | a</a:t>
              </a:r>
              <a:r>
                <a:rPr lang="de-DE" sz="1582" dirty="0"/>
                <a:t>, Box and Whisker </a:t>
              </a:r>
              <a:r>
                <a:rPr lang="de-DE" sz="1582" dirty="0" err="1"/>
                <a:t>plot</a:t>
              </a:r>
              <a:r>
                <a:rPr lang="de-DE" sz="1582" dirty="0"/>
                <a:t> </a:t>
              </a:r>
              <a:r>
                <a:rPr lang="de-DE" sz="1582" dirty="0" err="1"/>
                <a:t>of</a:t>
              </a:r>
              <a:r>
                <a:rPr lang="de-DE" sz="1582" dirty="0"/>
                <a:t> </a:t>
              </a:r>
              <a:r>
                <a:rPr lang="de-DE" sz="1582" dirty="0" err="1"/>
                <a:t>the</a:t>
              </a:r>
              <a:r>
                <a:rPr lang="de-DE" sz="1582" dirty="0"/>
                <a:t> </a:t>
              </a:r>
              <a:r>
                <a:rPr lang="de-DE" sz="1582" b="1" dirty="0">
                  <a:solidFill>
                    <a:schemeClr val="tx2"/>
                  </a:solidFill>
                </a:rPr>
                <a:t>wind </a:t>
              </a:r>
              <a:r>
                <a:rPr lang="de-DE" sz="1582" b="1" dirty="0" err="1">
                  <a:solidFill>
                    <a:schemeClr val="tx2"/>
                  </a:solidFill>
                </a:rPr>
                <a:t>speed</a:t>
              </a:r>
              <a:r>
                <a:rPr lang="de-DE" sz="1582" b="1" dirty="0">
                  <a:solidFill>
                    <a:schemeClr val="tx2"/>
                  </a:solidFill>
                </a:rPr>
                <a:t> </a:t>
              </a:r>
              <a:r>
                <a:rPr lang="de-DE" sz="1582" b="1" dirty="0" err="1">
                  <a:solidFill>
                    <a:schemeClr val="tx2"/>
                  </a:solidFill>
                </a:rPr>
                <a:t>distribution</a:t>
              </a:r>
              <a:r>
                <a:rPr lang="de-DE" sz="1582" b="1" dirty="0">
                  <a:solidFill>
                    <a:schemeClr val="tx2"/>
                  </a:solidFill>
                </a:rPr>
                <a:t> </a:t>
              </a:r>
              <a:r>
                <a:rPr lang="de-DE" sz="1582" b="1" dirty="0" err="1">
                  <a:solidFill>
                    <a:schemeClr val="tx2"/>
                  </a:solidFill>
                </a:rPr>
                <a:t>of</a:t>
              </a:r>
              <a:r>
                <a:rPr lang="de-DE" sz="1582" b="1" dirty="0">
                  <a:solidFill>
                    <a:schemeClr val="tx2"/>
                  </a:solidFill>
                </a:rPr>
                <a:t> </a:t>
              </a:r>
              <a:r>
                <a:rPr lang="de-DE" sz="1582" b="1" dirty="0" err="1">
                  <a:solidFill>
                    <a:schemeClr val="tx2"/>
                  </a:solidFill>
                </a:rPr>
                <a:t>the</a:t>
              </a:r>
              <a:r>
                <a:rPr lang="de-DE" sz="1582" b="1" dirty="0">
                  <a:solidFill>
                    <a:schemeClr val="tx2"/>
                  </a:solidFill>
                </a:rPr>
                <a:t> </a:t>
              </a:r>
              <a:r>
                <a:rPr lang="de-DE" sz="1582" b="1" dirty="0" err="1">
                  <a:solidFill>
                    <a:schemeClr val="tx2"/>
                  </a:solidFill>
                </a:rPr>
                <a:t>logbook</a:t>
              </a:r>
              <a:r>
                <a:rPr lang="de-DE" sz="1582" b="1" dirty="0">
                  <a:solidFill>
                    <a:schemeClr val="tx2"/>
                  </a:solidFill>
                </a:rPr>
                <a:t> </a:t>
              </a:r>
              <a:r>
                <a:rPr lang="de-DE" sz="1582" b="1" dirty="0" err="1">
                  <a:solidFill>
                    <a:schemeClr val="tx2"/>
                  </a:solidFill>
                </a:rPr>
                <a:t>data</a:t>
              </a:r>
              <a:r>
                <a:rPr lang="de-DE" sz="1582" b="1" dirty="0">
                  <a:solidFill>
                    <a:schemeClr val="tx2"/>
                  </a:solidFill>
                </a:rPr>
                <a:t> and </a:t>
              </a:r>
              <a:r>
                <a:rPr lang="de-DE" sz="1582" b="1" dirty="0" err="1">
                  <a:solidFill>
                    <a:schemeClr val="tx2"/>
                  </a:solidFill>
                </a:rPr>
                <a:t>the</a:t>
              </a:r>
              <a:r>
                <a:rPr lang="de-DE" sz="1582" b="1" dirty="0">
                  <a:solidFill>
                    <a:schemeClr val="tx2"/>
                  </a:solidFill>
                </a:rPr>
                <a:t> </a:t>
              </a:r>
              <a:r>
                <a:rPr lang="de-DE" sz="1582" b="1" dirty="0" err="1">
                  <a:solidFill>
                    <a:schemeClr val="tx2"/>
                  </a:solidFill>
                </a:rPr>
                <a:t>daily</a:t>
              </a:r>
              <a:r>
                <a:rPr lang="de-DE" sz="1582" b="1" dirty="0">
                  <a:solidFill>
                    <a:schemeClr val="tx2"/>
                  </a:solidFill>
                </a:rPr>
                <a:t> </a:t>
              </a:r>
              <a:r>
                <a:rPr lang="de-DE" sz="1582" b="1" dirty="0" err="1">
                  <a:solidFill>
                    <a:schemeClr val="tx2"/>
                  </a:solidFill>
                </a:rPr>
                <a:t>reanalysis</a:t>
              </a:r>
              <a:r>
                <a:rPr lang="de-DE" sz="1582" b="1" dirty="0">
                  <a:solidFill>
                    <a:schemeClr val="tx2"/>
                  </a:solidFill>
                </a:rPr>
                <a:t> </a:t>
              </a:r>
              <a:r>
                <a:rPr lang="de-DE" sz="1582" b="1" dirty="0" err="1">
                  <a:solidFill>
                    <a:schemeClr val="tx2"/>
                  </a:solidFill>
                </a:rPr>
                <a:t>data</a:t>
              </a:r>
              <a:r>
                <a:rPr lang="de-DE" sz="1582" dirty="0"/>
                <a:t>. The median </a:t>
              </a:r>
              <a:r>
                <a:rPr lang="de-DE" sz="1582" dirty="0" err="1"/>
                <a:t>is</a:t>
              </a:r>
              <a:r>
                <a:rPr lang="de-DE" sz="1582" dirty="0"/>
                <a:t> </a:t>
              </a:r>
              <a:r>
                <a:rPr lang="de-DE" sz="1582" dirty="0" err="1"/>
                <a:t>shown</a:t>
              </a:r>
              <a:r>
                <a:rPr lang="de-DE" sz="1582" dirty="0"/>
                <a:t> </a:t>
              </a:r>
              <a:r>
                <a:rPr lang="de-DE" sz="1582" dirty="0" err="1"/>
                <a:t>as</a:t>
              </a:r>
              <a:r>
                <a:rPr lang="de-DE" sz="1582" dirty="0"/>
                <a:t> a </a:t>
              </a:r>
              <a:r>
                <a:rPr lang="de-DE" sz="1582" dirty="0" err="1"/>
                <a:t>grey</a:t>
              </a:r>
              <a:r>
                <a:rPr lang="de-DE" sz="1582" dirty="0"/>
                <a:t> </a:t>
              </a:r>
              <a:r>
                <a:rPr lang="de-DE" sz="1582" dirty="0" err="1"/>
                <a:t>line</a:t>
              </a:r>
              <a:r>
                <a:rPr lang="de-DE" sz="1582" dirty="0"/>
                <a:t>. Colors </a:t>
              </a:r>
              <a:r>
                <a:rPr lang="de-DE" sz="1582" dirty="0" err="1"/>
                <a:t>indicate</a:t>
              </a:r>
              <a:r>
                <a:rPr lang="de-DE" sz="1582" dirty="0"/>
                <a:t> </a:t>
              </a:r>
              <a:r>
                <a:rPr lang="de-DE" sz="1582" dirty="0" err="1"/>
                <a:t>the</a:t>
              </a:r>
              <a:r>
                <a:rPr lang="de-DE" sz="1582" dirty="0"/>
                <a:t> </a:t>
              </a:r>
              <a:r>
                <a:rPr lang="de-DE" sz="1582" dirty="0" err="1"/>
                <a:t>data</a:t>
              </a:r>
              <a:r>
                <a:rPr lang="de-DE" sz="1582" dirty="0"/>
                <a:t> source. </a:t>
              </a:r>
              <a:r>
                <a:rPr lang="de-DE" sz="1582" b="1" dirty="0">
                  <a:solidFill>
                    <a:schemeClr val="tx2"/>
                  </a:solidFill>
                </a:rPr>
                <a:t>b</a:t>
              </a:r>
              <a:r>
                <a:rPr lang="de-DE" sz="1582" dirty="0"/>
                <a:t>, Box and Whisker </a:t>
              </a:r>
              <a:r>
                <a:rPr lang="de-DE" sz="1582" dirty="0" err="1"/>
                <a:t>plot</a:t>
              </a:r>
              <a:r>
                <a:rPr lang="de-DE" sz="1582" dirty="0"/>
                <a:t> </a:t>
              </a:r>
              <a:r>
                <a:rPr lang="de-DE" sz="1582" dirty="0" err="1"/>
                <a:t>of</a:t>
              </a:r>
              <a:r>
                <a:rPr lang="de-DE" sz="1582" dirty="0"/>
                <a:t> </a:t>
              </a:r>
              <a:r>
                <a:rPr lang="de-DE" sz="1582" dirty="0" err="1"/>
                <a:t>the</a:t>
              </a:r>
              <a:r>
                <a:rPr lang="de-DE" sz="1582" dirty="0"/>
                <a:t> </a:t>
              </a:r>
              <a:r>
                <a:rPr lang="de-DE" sz="1582" b="1" dirty="0">
                  <a:solidFill>
                    <a:schemeClr val="tx2"/>
                  </a:solidFill>
                </a:rPr>
                <a:t>wind </a:t>
              </a:r>
              <a:r>
                <a:rPr lang="de-DE" sz="1582" b="1" dirty="0" err="1">
                  <a:solidFill>
                    <a:schemeClr val="tx2"/>
                  </a:solidFill>
                </a:rPr>
                <a:t>speed</a:t>
              </a:r>
              <a:r>
                <a:rPr lang="de-DE" sz="1582" b="1" dirty="0">
                  <a:solidFill>
                    <a:schemeClr val="tx2"/>
                  </a:solidFill>
                </a:rPr>
                <a:t> </a:t>
              </a:r>
              <a:r>
                <a:rPr lang="de-DE" sz="1582" b="1" dirty="0" err="1">
                  <a:solidFill>
                    <a:schemeClr val="tx2"/>
                  </a:solidFill>
                </a:rPr>
                <a:t>distribution</a:t>
              </a:r>
              <a:r>
                <a:rPr lang="de-DE" sz="1582" b="1" dirty="0">
                  <a:solidFill>
                    <a:schemeClr val="tx2"/>
                  </a:solidFill>
                </a:rPr>
                <a:t> </a:t>
              </a:r>
              <a:r>
                <a:rPr lang="de-DE" sz="1582" b="1" dirty="0" err="1">
                  <a:solidFill>
                    <a:schemeClr val="tx2"/>
                  </a:solidFill>
                </a:rPr>
                <a:t>of</a:t>
              </a:r>
              <a:r>
                <a:rPr lang="de-DE" sz="1582" b="1" dirty="0">
                  <a:solidFill>
                    <a:schemeClr val="tx2"/>
                  </a:solidFill>
                </a:rPr>
                <a:t> </a:t>
              </a:r>
              <a:r>
                <a:rPr lang="de-DE" sz="1582" b="1" dirty="0" err="1">
                  <a:solidFill>
                    <a:schemeClr val="tx2"/>
                  </a:solidFill>
                </a:rPr>
                <a:t>the</a:t>
              </a:r>
              <a:r>
                <a:rPr lang="de-DE" sz="1582" b="1" dirty="0">
                  <a:solidFill>
                    <a:schemeClr val="tx2"/>
                  </a:solidFill>
                </a:rPr>
                <a:t> </a:t>
              </a:r>
              <a:r>
                <a:rPr lang="de-DE" sz="1582" b="1" dirty="0" err="1">
                  <a:solidFill>
                    <a:schemeClr val="tx2"/>
                  </a:solidFill>
                </a:rPr>
                <a:t>logbook</a:t>
              </a:r>
              <a:r>
                <a:rPr lang="de-DE" sz="1582" b="1" dirty="0">
                  <a:solidFill>
                    <a:schemeClr val="tx2"/>
                  </a:solidFill>
                </a:rPr>
                <a:t> </a:t>
              </a:r>
              <a:r>
                <a:rPr lang="de-DE" sz="1582" b="1" dirty="0" err="1">
                  <a:solidFill>
                    <a:schemeClr val="tx2"/>
                  </a:solidFill>
                </a:rPr>
                <a:t>data</a:t>
              </a:r>
              <a:r>
                <a:rPr lang="de-DE" sz="1582" b="1" dirty="0">
                  <a:solidFill>
                    <a:schemeClr val="tx2"/>
                  </a:solidFill>
                </a:rPr>
                <a:t> </a:t>
              </a:r>
              <a:r>
                <a:rPr lang="de-DE" sz="1582" b="1" dirty="0" err="1">
                  <a:solidFill>
                    <a:schemeClr val="tx2"/>
                  </a:solidFill>
                </a:rPr>
                <a:t>sorted</a:t>
              </a:r>
              <a:r>
                <a:rPr lang="de-DE" sz="1582" b="1" dirty="0">
                  <a:solidFill>
                    <a:schemeClr val="tx2"/>
                  </a:solidFill>
                </a:rPr>
                <a:t> </a:t>
              </a:r>
              <a:r>
                <a:rPr lang="de-DE" sz="1582" b="1" dirty="0" err="1">
                  <a:solidFill>
                    <a:schemeClr val="tx2"/>
                  </a:solidFill>
                </a:rPr>
                <a:t>by</a:t>
              </a:r>
              <a:r>
                <a:rPr lang="de-DE" sz="1582" b="1" dirty="0">
                  <a:solidFill>
                    <a:schemeClr val="tx2"/>
                  </a:solidFill>
                </a:rPr>
                <a:t> </a:t>
              </a:r>
              <a:r>
                <a:rPr lang="de-DE" sz="1582" b="1" dirty="0" err="1">
                  <a:solidFill>
                    <a:schemeClr val="tx2"/>
                  </a:solidFill>
                </a:rPr>
                <a:t>the</a:t>
              </a:r>
              <a:r>
                <a:rPr lang="de-DE" sz="1582" b="1" dirty="0">
                  <a:solidFill>
                    <a:schemeClr val="tx2"/>
                  </a:solidFill>
                </a:rPr>
                <a:t> NAO </a:t>
              </a:r>
              <a:r>
                <a:rPr lang="de-DE" sz="1582" b="1" dirty="0" err="1">
                  <a:solidFill>
                    <a:schemeClr val="tx2"/>
                  </a:solidFill>
                </a:rPr>
                <a:t>phase</a:t>
              </a:r>
              <a:r>
                <a:rPr lang="de-DE" sz="1582" dirty="0"/>
                <a:t>. </a:t>
              </a:r>
              <a:r>
                <a:rPr lang="de-DE" sz="1582" dirty="0" err="1"/>
                <a:t>Only</a:t>
              </a:r>
              <a:r>
                <a:rPr lang="de-DE" sz="1582" dirty="0"/>
                <a:t> </a:t>
              </a:r>
              <a:r>
                <a:rPr lang="de-DE" sz="1582" dirty="0" err="1"/>
                <a:t>regions</a:t>
              </a:r>
              <a:r>
                <a:rPr lang="de-DE" sz="1582" dirty="0"/>
                <a:t> </a:t>
              </a:r>
              <a:r>
                <a:rPr lang="de-DE" sz="1582" dirty="0" err="1"/>
                <a:t>with</a:t>
              </a:r>
              <a:r>
                <a:rPr lang="de-DE" sz="1582" dirty="0"/>
                <a:t> positive wind </a:t>
              </a:r>
              <a:r>
                <a:rPr lang="de-DE" sz="1582" dirty="0" err="1"/>
                <a:t>speed</a:t>
              </a:r>
              <a:r>
                <a:rPr lang="de-DE" sz="1582" dirty="0"/>
                <a:t> </a:t>
              </a:r>
              <a:r>
                <a:rPr lang="de-DE" sz="1582" dirty="0" err="1"/>
                <a:t>anomalies</a:t>
              </a:r>
              <a:r>
                <a:rPr lang="de-DE" sz="1582" dirty="0"/>
                <a:t> in </a:t>
              </a:r>
              <a:r>
                <a:rPr lang="de-DE" sz="1582" dirty="0" err="1"/>
                <a:t>the</a:t>
              </a:r>
              <a:r>
                <a:rPr lang="de-DE" sz="1582" dirty="0"/>
                <a:t> NAO positive </a:t>
              </a:r>
              <a:r>
                <a:rPr lang="de-DE" sz="1582" dirty="0" err="1"/>
                <a:t>phase</a:t>
              </a:r>
              <a:r>
                <a:rPr lang="de-DE" sz="1582" dirty="0"/>
                <a:t> </a:t>
              </a:r>
              <a:r>
                <a:rPr lang="de-DE" sz="1582" dirty="0" err="1"/>
                <a:t>were</a:t>
              </a:r>
              <a:r>
                <a:rPr lang="de-DE" sz="1582" dirty="0"/>
                <a:t> </a:t>
              </a:r>
              <a:r>
                <a:rPr lang="de-DE" sz="1582" dirty="0" err="1"/>
                <a:t>considered</a:t>
              </a:r>
              <a:r>
                <a:rPr lang="de-DE" sz="1582" dirty="0"/>
                <a:t>. </a:t>
              </a:r>
              <a:r>
                <a:rPr lang="de-DE" sz="1582" b="1" dirty="0">
                  <a:solidFill>
                    <a:schemeClr val="tx2"/>
                  </a:solidFill>
                </a:rPr>
                <a:t>c</a:t>
              </a:r>
              <a:r>
                <a:rPr lang="de-DE" sz="1582" dirty="0"/>
                <a:t>, Box and Whisker </a:t>
              </a:r>
              <a:r>
                <a:rPr lang="de-DE" sz="1582" dirty="0" err="1"/>
                <a:t>plot</a:t>
              </a:r>
              <a:r>
                <a:rPr lang="de-DE" sz="1582" dirty="0"/>
                <a:t> </a:t>
              </a:r>
              <a:r>
                <a:rPr lang="de-DE" sz="1582" dirty="0" err="1"/>
                <a:t>of</a:t>
              </a:r>
              <a:r>
                <a:rPr lang="de-DE" sz="1582" dirty="0"/>
                <a:t> </a:t>
              </a:r>
              <a:r>
                <a:rPr lang="de-DE" sz="1582" dirty="0" err="1"/>
                <a:t>the</a:t>
              </a:r>
              <a:r>
                <a:rPr lang="de-DE" sz="1582" dirty="0"/>
                <a:t> </a:t>
              </a:r>
              <a:r>
                <a:rPr lang="de-DE" sz="1582" b="1" dirty="0">
                  <a:solidFill>
                    <a:schemeClr val="tx2"/>
                  </a:solidFill>
                </a:rPr>
                <a:t>wind </a:t>
              </a:r>
              <a:r>
                <a:rPr lang="de-DE" sz="1582" b="1" dirty="0" err="1">
                  <a:solidFill>
                    <a:schemeClr val="tx2"/>
                  </a:solidFill>
                </a:rPr>
                <a:t>speed</a:t>
              </a:r>
              <a:r>
                <a:rPr lang="de-DE" sz="1582" b="1" dirty="0">
                  <a:solidFill>
                    <a:schemeClr val="tx2"/>
                  </a:solidFill>
                </a:rPr>
                <a:t> </a:t>
              </a:r>
              <a:r>
                <a:rPr lang="de-DE" sz="1582" b="1" dirty="0" err="1">
                  <a:solidFill>
                    <a:schemeClr val="tx2"/>
                  </a:solidFill>
                </a:rPr>
                <a:t>distribution</a:t>
              </a:r>
              <a:r>
                <a:rPr lang="de-DE" sz="1582" b="1" dirty="0">
                  <a:solidFill>
                    <a:schemeClr val="tx2"/>
                  </a:solidFill>
                </a:rPr>
                <a:t> </a:t>
              </a:r>
              <a:r>
                <a:rPr lang="de-DE" sz="1582" b="1" dirty="0" err="1">
                  <a:solidFill>
                    <a:schemeClr val="tx2"/>
                  </a:solidFill>
                </a:rPr>
                <a:t>of</a:t>
              </a:r>
              <a:r>
                <a:rPr lang="de-DE" sz="1582" b="1" dirty="0">
                  <a:solidFill>
                    <a:schemeClr val="tx2"/>
                  </a:solidFill>
                </a:rPr>
                <a:t> </a:t>
              </a:r>
              <a:r>
                <a:rPr lang="de-DE" sz="1582" b="1" dirty="0" err="1">
                  <a:solidFill>
                    <a:schemeClr val="tx2"/>
                  </a:solidFill>
                </a:rPr>
                <a:t>both</a:t>
              </a:r>
              <a:r>
                <a:rPr lang="de-DE" sz="1582" b="1" dirty="0">
                  <a:solidFill>
                    <a:schemeClr val="tx2"/>
                  </a:solidFill>
                </a:rPr>
                <a:t> </a:t>
              </a:r>
              <a:r>
                <a:rPr lang="de-DE" sz="1582" b="1" dirty="0" err="1">
                  <a:solidFill>
                    <a:schemeClr val="tx2"/>
                  </a:solidFill>
                </a:rPr>
                <a:t>reanalysis</a:t>
              </a:r>
              <a:r>
                <a:rPr lang="de-DE" sz="1582" b="1" dirty="0">
                  <a:solidFill>
                    <a:schemeClr val="tx2"/>
                  </a:solidFill>
                </a:rPr>
                <a:t> and </a:t>
              </a:r>
              <a:r>
                <a:rPr lang="de-DE" sz="1582" b="1" dirty="0" err="1">
                  <a:solidFill>
                    <a:schemeClr val="tx2"/>
                  </a:solidFill>
                </a:rPr>
                <a:t>logbook</a:t>
              </a:r>
              <a:r>
                <a:rPr lang="de-DE" sz="1582" b="1" dirty="0">
                  <a:solidFill>
                    <a:schemeClr val="tx2"/>
                  </a:solidFill>
                </a:rPr>
                <a:t> </a:t>
              </a:r>
              <a:r>
                <a:rPr lang="de-DE" sz="1582" b="1" dirty="0" err="1">
                  <a:solidFill>
                    <a:schemeClr val="tx2"/>
                  </a:solidFill>
                </a:rPr>
                <a:t>data</a:t>
              </a:r>
              <a:r>
                <a:rPr lang="de-DE" sz="1582" b="1" dirty="0">
                  <a:solidFill>
                    <a:schemeClr val="tx2"/>
                  </a:solidFill>
                </a:rPr>
                <a:t> </a:t>
              </a:r>
              <a:r>
                <a:rPr lang="de-DE" sz="1582" b="1" dirty="0" err="1">
                  <a:solidFill>
                    <a:schemeClr val="tx2"/>
                  </a:solidFill>
                </a:rPr>
                <a:t>sorted</a:t>
              </a:r>
              <a:r>
                <a:rPr lang="de-DE" sz="1582" b="1" dirty="0">
                  <a:solidFill>
                    <a:schemeClr val="tx2"/>
                  </a:solidFill>
                </a:rPr>
                <a:t> </a:t>
              </a:r>
              <a:r>
                <a:rPr lang="de-DE" sz="1582" b="1" dirty="0" err="1">
                  <a:solidFill>
                    <a:schemeClr val="tx2"/>
                  </a:solidFill>
                </a:rPr>
                <a:t>by</a:t>
              </a:r>
              <a:r>
                <a:rPr lang="de-DE" sz="1582" b="1" dirty="0">
                  <a:solidFill>
                    <a:schemeClr val="tx2"/>
                  </a:solidFill>
                </a:rPr>
                <a:t> </a:t>
              </a:r>
              <a:r>
                <a:rPr lang="de-DE" sz="1582" b="1" dirty="0" err="1">
                  <a:solidFill>
                    <a:schemeClr val="tx2"/>
                  </a:solidFill>
                </a:rPr>
                <a:t>the</a:t>
              </a:r>
              <a:r>
                <a:rPr lang="de-DE" sz="1582" b="1" dirty="0">
                  <a:solidFill>
                    <a:schemeClr val="tx2"/>
                  </a:solidFill>
                </a:rPr>
                <a:t> NAO </a:t>
              </a:r>
              <a:r>
                <a:rPr lang="de-DE" sz="1582" b="1" dirty="0" err="1">
                  <a:solidFill>
                    <a:schemeClr val="tx2"/>
                  </a:solidFill>
                </a:rPr>
                <a:t>phase</a:t>
              </a:r>
              <a:r>
                <a:rPr lang="de-DE" sz="1582" dirty="0"/>
                <a:t>. Colors </a:t>
              </a:r>
              <a:r>
                <a:rPr lang="de-DE" sz="1582" dirty="0" err="1"/>
                <a:t>indicate</a:t>
              </a:r>
              <a:r>
                <a:rPr lang="de-DE" sz="1582" dirty="0"/>
                <a:t> </a:t>
              </a:r>
              <a:r>
                <a:rPr lang="de-DE" sz="1582" dirty="0" err="1"/>
                <a:t>the</a:t>
              </a:r>
              <a:r>
                <a:rPr lang="de-DE" sz="1582" dirty="0"/>
                <a:t> same </a:t>
              </a:r>
              <a:r>
                <a:rPr lang="de-DE" sz="1582" dirty="0" err="1"/>
                <a:t>as</a:t>
              </a:r>
              <a:r>
                <a:rPr lang="de-DE" sz="1582" dirty="0"/>
                <a:t> in a.</a:t>
              </a:r>
              <a:endParaRPr lang="en-DE" sz="1582" dirty="0"/>
            </a:p>
          </p:txBody>
        </p:sp>
        <p:pic>
          <p:nvPicPr>
            <p:cNvPr id="60" name="Grafik 59">
              <a:extLst>
                <a:ext uri="{FF2B5EF4-FFF2-40B4-BE49-F238E27FC236}">
                  <a16:creationId xmlns:a16="http://schemas.microsoft.com/office/drawing/2014/main" id="{B2E91223-56D8-2DDF-BD85-9991F7701B82}"/>
                </a:ext>
              </a:extLst>
            </p:cNvPr>
            <p:cNvPicPr>
              <a:picLocks noChangeAspect="1"/>
            </p:cNvPicPr>
            <p:nvPr/>
          </p:nvPicPr>
          <p:blipFill>
            <a:blip r:embed="rId14"/>
            <a:stretch>
              <a:fillRect/>
            </a:stretch>
          </p:blipFill>
          <p:spPr>
            <a:xfrm>
              <a:off x="44545012" y="6878718"/>
              <a:ext cx="3911500" cy="3911500"/>
            </a:xfrm>
            <a:prstGeom prst="rect">
              <a:avLst/>
            </a:prstGeom>
          </p:spPr>
        </p:pic>
        <p:sp>
          <p:nvSpPr>
            <p:cNvPr id="68" name="Textfeld 67">
              <a:extLst>
                <a:ext uri="{FF2B5EF4-FFF2-40B4-BE49-F238E27FC236}">
                  <a16:creationId xmlns:a16="http://schemas.microsoft.com/office/drawing/2014/main" id="{1EA138D0-5D69-FDB4-2A93-776A407B8C1F}"/>
                </a:ext>
              </a:extLst>
            </p:cNvPr>
            <p:cNvSpPr txBox="1"/>
            <p:nvPr/>
          </p:nvSpPr>
          <p:spPr>
            <a:xfrm>
              <a:off x="40355140" y="6907621"/>
              <a:ext cx="254263" cy="381961"/>
            </a:xfrm>
            <a:prstGeom prst="rect">
              <a:avLst/>
            </a:prstGeom>
            <a:noFill/>
          </p:spPr>
          <p:txBody>
            <a:bodyPr wrap="square" rtlCol="0">
              <a:spAutoFit/>
            </a:bodyPr>
            <a:lstStyle/>
            <a:p>
              <a:r>
                <a:rPr lang="de-DE" sz="1582" b="1" dirty="0"/>
                <a:t>a</a:t>
              </a:r>
              <a:endParaRPr lang="en-DE" sz="1582" b="1" dirty="0"/>
            </a:p>
          </p:txBody>
        </p:sp>
        <p:sp>
          <p:nvSpPr>
            <p:cNvPr id="69" name="Textfeld 68">
              <a:extLst>
                <a:ext uri="{FF2B5EF4-FFF2-40B4-BE49-F238E27FC236}">
                  <a16:creationId xmlns:a16="http://schemas.microsoft.com/office/drawing/2014/main" id="{E3562EF4-0C0D-3866-F82D-7623310766BD}"/>
                </a:ext>
              </a:extLst>
            </p:cNvPr>
            <p:cNvSpPr txBox="1"/>
            <p:nvPr/>
          </p:nvSpPr>
          <p:spPr>
            <a:xfrm>
              <a:off x="44758129" y="6903221"/>
              <a:ext cx="254263" cy="381961"/>
            </a:xfrm>
            <a:prstGeom prst="rect">
              <a:avLst/>
            </a:prstGeom>
            <a:noFill/>
          </p:spPr>
          <p:txBody>
            <a:bodyPr wrap="square" rtlCol="0">
              <a:spAutoFit/>
            </a:bodyPr>
            <a:lstStyle/>
            <a:p>
              <a:r>
                <a:rPr lang="de-DE" sz="1582" b="1" dirty="0"/>
                <a:t>b</a:t>
              </a:r>
              <a:endParaRPr lang="en-DE" sz="1582" b="1" dirty="0"/>
            </a:p>
          </p:txBody>
        </p:sp>
        <p:sp>
          <p:nvSpPr>
            <p:cNvPr id="72" name="Textfeld 71">
              <a:extLst>
                <a:ext uri="{FF2B5EF4-FFF2-40B4-BE49-F238E27FC236}">
                  <a16:creationId xmlns:a16="http://schemas.microsoft.com/office/drawing/2014/main" id="{DEA85B24-FC3A-5132-81DA-9796E44C3746}"/>
                </a:ext>
              </a:extLst>
            </p:cNvPr>
            <p:cNvSpPr txBox="1"/>
            <p:nvPr/>
          </p:nvSpPr>
          <p:spPr>
            <a:xfrm>
              <a:off x="40355140" y="10593353"/>
              <a:ext cx="254263" cy="381961"/>
            </a:xfrm>
            <a:prstGeom prst="rect">
              <a:avLst/>
            </a:prstGeom>
            <a:noFill/>
          </p:spPr>
          <p:txBody>
            <a:bodyPr wrap="square" rtlCol="0">
              <a:spAutoFit/>
            </a:bodyPr>
            <a:lstStyle/>
            <a:p>
              <a:r>
                <a:rPr lang="de-DE" sz="1582" b="1" dirty="0"/>
                <a:t>c</a:t>
              </a:r>
              <a:endParaRPr lang="en-DE" sz="1582" b="1" dirty="0"/>
            </a:p>
          </p:txBody>
        </p:sp>
      </p:grpSp>
      <p:pic>
        <p:nvPicPr>
          <p:cNvPr id="79" name="Picture 6">
            <a:extLst>
              <a:ext uri="{FF2B5EF4-FFF2-40B4-BE49-F238E27FC236}">
                <a16:creationId xmlns:a16="http://schemas.microsoft.com/office/drawing/2014/main" id="{D48CCA2D-2D1F-0041-013C-C681CFC5292F}"/>
              </a:ext>
            </a:extLst>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7769544" y="26737954"/>
            <a:ext cx="4022043" cy="1664436"/>
          </a:xfrm>
          <a:prstGeom prst="rect">
            <a:avLst/>
          </a:prstGeom>
          <a:noFill/>
          <a:extLst>
            <a:ext uri="{909E8E84-426E-40DD-AFC4-6F175D3DCCD1}">
              <a14:hiddenFill xmlns:a14="http://schemas.microsoft.com/office/drawing/2010/main">
                <a:solidFill>
                  <a:srgbClr val="FFFFFF"/>
                </a:solidFill>
              </a14:hiddenFill>
            </a:ext>
          </a:extLst>
        </p:spPr>
      </p:pic>
      <p:pic>
        <p:nvPicPr>
          <p:cNvPr id="80" name="Picture 8">
            <a:extLst>
              <a:ext uri="{FF2B5EF4-FFF2-40B4-BE49-F238E27FC236}">
                <a16:creationId xmlns:a16="http://schemas.microsoft.com/office/drawing/2014/main" id="{F0D54477-E424-D5FC-4BAA-CF47AFE06BE6}"/>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34550574" y="27304024"/>
            <a:ext cx="2890532" cy="833276"/>
          </a:xfrm>
          <a:prstGeom prst="rect">
            <a:avLst/>
          </a:prstGeom>
          <a:noFill/>
          <a:extLst>
            <a:ext uri="{909E8E84-426E-40DD-AFC4-6F175D3DCCD1}">
              <a14:hiddenFill xmlns:a14="http://schemas.microsoft.com/office/drawing/2010/main">
                <a:solidFill>
                  <a:srgbClr val="FFFFFF"/>
                </a:solidFill>
              </a14:hiddenFill>
            </a:ext>
          </a:extLst>
        </p:spPr>
      </p:pic>
      <p:pic>
        <p:nvPicPr>
          <p:cNvPr id="82" name="Grafik 81">
            <a:extLst>
              <a:ext uri="{FF2B5EF4-FFF2-40B4-BE49-F238E27FC236}">
                <a16:creationId xmlns:a16="http://schemas.microsoft.com/office/drawing/2014/main" id="{99D63DCD-6E99-3B21-3C1B-14EB61D10641}"/>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0926081" y="26168485"/>
            <a:ext cx="4873817" cy="3444086"/>
          </a:xfrm>
          <a:prstGeom prst="rect">
            <a:avLst/>
          </a:prstGeom>
        </p:spPr>
      </p:pic>
      <p:cxnSp>
        <p:nvCxnSpPr>
          <p:cNvPr id="94" name="Straight Connector 19">
            <a:extLst>
              <a:ext uri="{FF2B5EF4-FFF2-40B4-BE49-F238E27FC236}">
                <a16:creationId xmlns:a16="http://schemas.microsoft.com/office/drawing/2014/main" id="{5293ACB0-0B3E-CEDA-B74F-B96E3BB136CD}"/>
              </a:ext>
            </a:extLst>
          </p:cNvPr>
          <p:cNvCxnSpPr>
            <a:cxnSpLocks/>
          </p:cNvCxnSpPr>
          <p:nvPr/>
        </p:nvCxnSpPr>
        <p:spPr>
          <a:xfrm>
            <a:off x="38225812" y="23735367"/>
            <a:ext cx="10611085" cy="0"/>
          </a:xfrm>
          <a:prstGeom prst="line">
            <a:avLst/>
          </a:prstGeom>
          <a:ln w="44450">
            <a:solidFill>
              <a:schemeClr val="tx2"/>
            </a:solidFill>
          </a:ln>
          <a:effectLst/>
        </p:spPr>
        <p:style>
          <a:lnRef idx="2">
            <a:schemeClr val="accent1"/>
          </a:lnRef>
          <a:fillRef idx="0">
            <a:schemeClr val="accent1"/>
          </a:fillRef>
          <a:effectRef idx="1">
            <a:schemeClr val="accent1"/>
          </a:effectRef>
          <a:fontRef idx="minor">
            <a:schemeClr val="tx1"/>
          </a:fontRef>
        </p:style>
      </p:cxnSp>
      <p:grpSp>
        <p:nvGrpSpPr>
          <p:cNvPr id="17" name="Gruppieren 16">
            <a:extLst>
              <a:ext uri="{FF2B5EF4-FFF2-40B4-BE49-F238E27FC236}">
                <a16:creationId xmlns:a16="http://schemas.microsoft.com/office/drawing/2014/main" id="{D702BE02-E4B1-85F9-B527-AFE301F0BD74}"/>
              </a:ext>
            </a:extLst>
          </p:cNvPr>
          <p:cNvGrpSpPr/>
          <p:nvPr/>
        </p:nvGrpSpPr>
        <p:grpSpPr>
          <a:xfrm>
            <a:off x="26823965" y="15751126"/>
            <a:ext cx="9479442" cy="9852676"/>
            <a:chOff x="26624308" y="15789191"/>
            <a:chExt cx="9479442" cy="9852676"/>
          </a:xfrm>
        </p:grpSpPr>
        <p:pic>
          <p:nvPicPr>
            <p:cNvPr id="89" name="Bildplatzhalter 53">
              <a:extLst>
                <a:ext uri="{FF2B5EF4-FFF2-40B4-BE49-F238E27FC236}">
                  <a16:creationId xmlns:a16="http://schemas.microsoft.com/office/drawing/2014/main" id="{ADCA8913-E636-83FF-6599-5CC4246ED0E1}"/>
                </a:ext>
              </a:extLst>
            </p:cNvPr>
            <p:cNvPicPr>
              <a:picLocks noChangeAspect="1"/>
            </p:cNvPicPr>
            <p:nvPr/>
          </p:nvPicPr>
          <p:blipFill rotWithShape="1">
            <a:blip r:embed="rId19"/>
            <a:srcRect l="8857" r="5167"/>
            <a:stretch/>
          </p:blipFill>
          <p:spPr>
            <a:xfrm>
              <a:off x="26635902" y="15789191"/>
              <a:ext cx="9467848" cy="4719514"/>
            </a:xfrm>
            <a:prstGeom prst="rect">
              <a:avLst/>
            </a:prstGeom>
          </p:spPr>
        </p:pic>
        <p:pic>
          <p:nvPicPr>
            <p:cNvPr id="90" name="Bildplatzhalter 4">
              <a:extLst>
                <a:ext uri="{FF2B5EF4-FFF2-40B4-BE49-F238E27FC236}">
                  <a16:creationId xmlns:a16="http://schemas.microsoft.com/office/drawing/2014/main" id="{78761AC5-8C13-237F-6A38-0E694022B12C}"/>
                </a:ext>
              </a:extLst>
            </p:cNvPr>
            <p:cNvPicPr>
              <a:picLocks noChangeAspect="1"/>
            </p:cNvPicPr>
            <p:nvPr/>
          </p:nvPicPr>
          <p:blipFill rotWithShape="1">
            <a:blip r:embed="rId20"/>
            <a:srcRect l="9118" t="6181" r="5154"/>
            <a:stretch/>
          </p:blipFill>
          <p:spPr>
            <a:xfrm>
              <a:off x="26649030" y="20167639"/>
              <a:ext cx="9437970" cy="4427786"/>
            </a:xfrm>
            <a:prstGeom prst="rect">
              <a:avLst/>
            </a:prstGeom>
          </p:spPr>
        </p:pic>
        <p:sp>
          <p:nvSpPr>
            <p:cNvPr id="75" name="Textfeld 74">
              <a:extLst>
                <a:ext uri="{FF2B5EF4-FFF2-40B4-BE49-F238E27FC236}">
                  <a16:creationId xmlns:a16="http://schemas.microsoft.com/office/drawing/2014/main" id="{C9A61820-17F3-8D74-8055-EA669DDAEA46}"/>
                </a:ext>
              </a:extLst>
            </p:cNvPr>
            <p:cNvSpPr txBox="1"/>
            <p:nvPr/>
          </p:nvSpPr>
          <p:spPr>
            <a:xfrm>
              <a:off x="26624308" y="24332213"/>
              <a:ext cx="9467847" cy="1309654"/>
            </a:xfrm>
            <a:prstGeom prst="rect">
              <a:avLst/>
            </a:prstGeom>
            <a:noFill/>
          </p:spPr>
          <p:txBody>
            <a:bodyPr wrap="square" rtlCol="0">
              <a:spAutoFit/>
            </a:bodyPr>
            <a:lstStyle/>
            <a:p>
              <a:pPr algn="just"/>
              <a:r>
                <a:rPr lang="en-GB" sz="1582" b="1" dirty="0">
                  <a:solidFill>
                    <a:schemeClr val="tx2"/>
                  </a:solidFill>
                </a:rPr>
                <a:t>Figure 4 | a</a:t>
              </a:r>
              <a:r>
                <a:rPr lang="en-GB" sz="1582" dirty="0"/>
                <a:t>, Scatterplot of the </a:t>
              </a:r>
              <a:r>
                <a:rPr lang="en-GB" sz="1582" b="1" dirty="0">
                  <a:solidFill>
                    <a:schemeClr val="tx2"/>
                  </a:solidFill>
                </a:rPr>
                <a:t>wind directions of the logbook data</a:t>
              </a:r>
              <a:r>
                <a:rPr lang="en-GB" sz="1582" dirty="0"/>
                <a:t>. The background </a:t>
              </a:r>
              <a:r>
                <a:rPr lang="en-GB" sz="1582" dirty="0" err="1"/>
                <a:t>color</a:t>
              </a:r>
              <a:r>
                <a:rPr lang="en-GB" sz="1582" dirty="0"/>
                <a:t> shading indicates mean wind directions calculated from monthly mean reanalysis data. Wind directions are shown in degrees north. </a:t>
              </a:r>
              <a:r>
                <a:rPr lang="en-GB" sz="1582" b="1" dirty="0">
                  <a:solidFill>
                    <a:schemeClr val="tx2"/>
                  </a:solidFill>
                </a:rPr>
                <a:t>b</a:t>
              </a:r>
              <a:r>
                <a:rPr lang="en-GB" sz="1582" dirty="0"/>
                <a:t>, </a:t>
              </a:r>
              <a:r>
                <a:rPr lang="en-GB" sz="1582" b="1" dirty="0" err="1">
                  <a:solidFill>
                    <a:schemeClr val="tx2"/>
                  </a:solidFill>
                </a:rPr>
                <a:t>Windroses</a:t>
              </a:r>
              <a:r>
                <a:rPr lang="en-GB" sz="1582" b="1" dirty="0">
                  <a:solidFill>
                    <a:schemeClr val="tx2"/>
                  </a:solidFill>
                </a:rPr>
                <a:t> of the winds in the year 1848 </a:t>
              </a:r>
              <a:r>
                <a:rPr lang="en-GB" sz="1582" dirty="0"/>
                <a:t>measured by the whalers and obtained from the daily reanalysis data. Numbers indicate the amount of data points available in each grid box. </a:t>
              </a:r>
              <a:r>
                <a:rPr lang="en-GB" sz="1582" dirty="0" err="1"/>
                <a:t>Windroses</a:t>
              </a:r>
              <a:r>
                <a:rPr lang="en-GB" sz="1582" dirty="0"/>
                <a:t> of logbook data are indicated by purple </a:t>
              </a:r>
              <a:r>
                <a:rPr lang="en-GB" sz="1582" dirty="0" err="1"/>
                <a:t>colors</a:t>
              </a:r>
              <a:r>
                <a:rPr lang="en-GB" sz="1582" dirty="0"/>
                <a:t>, and </a:t>
              </a:r>
              <a:r>
                <a:rPr lang="en-GB" sz="1582" dirty="0" err="1"/>
                <a:t>windroses</a:t>
              </a:r>
              <a:r>
                <a:rPr lang="en-GB" sz="1582" dirty="0"/>
                <a:t> of reanalysis data by blue. Background </a:t>
              </a:r>
              <a:r>
                <a:rPr lang="en-GB" sz="1582" dirty="0" err="1"/>
                <a:t>color</a:t>
              </a:r>
              <a:r>
                <a:rPr lang="en-GB" sz="1582" dirty="0"/>
                <a:t> shading indicates the same as in a.</a:t>
              </a:r>
            </a:p>
          </p:txBody>
        </p:sp>
        <p:sp>
          <p:nvSpPr>
            <p:cNvPr id="100" name="Textfeld 99">
              <a:extLst>
                <a:ext uri="{FF2B5EF4-FFF2-40B4-BE49-F238E27FC236}">
                  <a16:creationId xmlns:a16="http://schemas.microsoft.com/office/drawing/2014/main" id="{9732B630-9DB8-8BC3-9BEA-170E29A117B3}"/>
                </a:ext>
              </a:extLst>
            </p:cNvPr>
            <p:cNvSpPr txBox="1"/>
            <p:nvPr/>
          </p:nvSpPr>
          <p:spPr>
            <a:xfrm>
              <a:off x="26980011" y="16011425"/>
              <a:ext cx="342345" cy="335798"/>
            </a:xfrm>
            <a:prstGeom prst="rect">
              <a:avLst/>
            </a:prstGeom>
            <a:noFill/>
          </p:spPr>
          <p:txBody>
            <a:bodyPr wrap="square" rtlCol="0">
              <a:spAutoFit/>
            </a:bodyPr>
            <a:lstStyle/>
            <a:p>
              <a:r>
                <a:rPr lang="de-DE" sz="1582" b="1" dirty="0"/>
                <a:t>a</a:t>
              </a:r>
              <a:endParaRPr lang="en-DE" sz="1582" b="1" dirty="0"/>
            </a:p>
          </p:txBody>
        </p:sp>
        <p:sp>
          <p:nvSpPr>
            <p:cNvPr id="101" name="Textfeld 100">
              <a:extLst>
                <a:ext uri="{FF2B5EF4-FFF2-40B4-BE49-F238E27FC236}">
                  <a16:creationId xmlns:a16="http://schemas.microsoft.com/office/drawing/2014/main" id="{13AAE7C4-7626-8DF2-0A8E-44DC08932ADE}"/>
                </a:ext>
              </a:extLst>
            </p:cNvPr>
            <p:cNvSpPr txBox="1"/>
            <p:nvPr/>
          </p:nvSpPr>
          <p:spPr>
            <a:xfrm>
              <a:off x="26980011" y="20113331"/>
              <a:ext cx="342345" cy="335798"/>
            </a:xfrm>
            <a:prstGeom prst="rect">
              <a:avLst/>
            </a:prstGeom>
            <a:noFill/>
          </p:spPr>
          <p:txBody>
            <a:bodyPr wrap="square" rtlCol="0">
              <a:spAutoFit/>
            </a:bodyPr>
            <a:lstStyle/>
            <a:p>
              <a:r>
                <a:rPr lang="de-DE" sz="1582" b="1" dirty="0"/>
                <a:t>b</a:t>
              </a:r>
              <a:endParaRPr lang="en-DE" sz="1582" b="1" dirty="0"/>
            </a:p>
          </p:txBody>
        </p:sp>
      </p:grpSp>
      <p:pic>
        <p:nvPicPr>
          <p:cNvPr id="6" name="Grafik 5">
            <a:extLst>
              <a:ext uri="{FF2B5EF4-FFF2-40B4-BE49-F238E27FC236}">
                <a16:creationId xmlns:a16="http://schemas.microsoft.com/office/drawing/2014/main" id="{17F1E1DC-44BC-5A51-9856-42CC065F9F2B}"/>
              </a:ext>
            </a:extLst>
          </p:cNvPr>
          <p:cNvPicPr>
            <a:picLocks noChangeAspect="1"/>
          </p:cNvPicPr>
          <p:nvPr/>
        </p:nvPicPr>
        <p:blipFill>
          <a:blip r:embed="rId21"/>
          <a:stretch>
            <a:fillRect/>
          </a:stretch>
        </p:blipFill>
        <p:spPr>
          <a:xfrm>
            <a:off x="46973903" y="1285022"/>
            <a:ext cx="1714069" cy="1714069"/>
          </a:xfrm>
          <a:prstGeom prst="rect">
            <a:avLst/>
          </a:prstGeom>
        </p:spPr>
      </p:pic>
      <p:pic>
        <p:nvPicPr>
          <p:cNvPr id="8" name="Grafik 7">
            <a:extLst>
              <a:ext uri="{FF2B5EF4-FFF2-40B4-BE49-F238E27FC236}">
                <a16:creationId xmlns:a16="http://schemas.microsoft.com/office/drawing/2014/main" id="{429FFA49-3C46-8203-2CED-487F13A175F4}"/>
              </a:ext>
            </a:extLst>
          </p:cNvPr>
          <p:cNvPicPr>
            <a:picLocks noChangeAspect="1"/>
          </p:cNvPicPr>
          <p:nvPr/>
        </p:nvPicPr>
        <p:blipFill>
          <a:blip r:embed="rId22"/>
          <a:stretch>
            <a:fillRect/>
          </a:stretch>
        </p:blipFill>
        <p:spPr>
          <a:xfrm>
            <a:off x="45312762" y="1264476"/>
            <a:ext cx="1249117" cy="1748764"/>
          </a:xfrm>
          <a:prstGeom prst="rect">
            <a:avLst/>
          </a:prstGeom>
        </p:spPr>
      </p:pic>
      <p:grpSp>
        <p:nvGrpSpPr>
          <p:cNvPr id="11" name="Gruppieren 10">
            <a:extLst>
              <a:ext uri="{FF2B5EF4-FFF2-40B4-BE49-F238E27FC236}">
                <a16:creationId xmlns:a16="http://schemas.microsoft.com/office/drawing/2014/main" id="{3083DFB4-9478-B7F6-5E59-C51622F33EA7}"/>
              </a:ext>
            </a:extLst>
          </p:cNvPr>
          <p:cNvGrpSpPr/>
          <p:nvPr/>
        </p:nvGrpSpPr>
        <p:grpSpPr>
          <a:xfrm>
            <a:off x="13942174" y="10785953"/>
            <a:ext cx="10118228" cy="15029850"/>
            <a:chOff x="13942174" y="10785953"/>
            <a:chExt cx="10118228" cy="15029850"/>
          </a:xfrm>
        </p:grpSpPr>
        <p:grpSp>
          <p:nvGrpSpPr>
            <p:cNvPr id="67" name="Gruppieren 66">
              <a:extLst>
                <a:ext uri="{FF2B5EF4-FFF2-40B4-BE49-F238E27FC236}">
                  <a16:creationId xmlns:a16="http://schemas.microsoft.com/office/drawing/2014/main" id="{27ADE6AF-5B54-1259-5615-A6F8080587BE}"/>
                </a:ext>
              </a:extLst>
            </p:cNvPr>
            <p:cNvGrpSpPr/>
            <p:nvPr/>
          </p:nvGrpSpPr>
          <p:grpSpPr>
            <a:xfrm>
              <a:off x="13942174" y="10785953"/>
              <a:ext cx="10118228" cy="15029850"/>
              <a:chOff x="14314595" y="12268708"/>
              <a:chExt cx="11509192" cy="17096020"/>
            </a:xfrm>
          </p:grpSpPr>
          <p:pic>
            <p:nvPicPr>
              <p:cNvPr id="7" name="Grafik 6">
                <a:extLst>
                  <a:ext uri="{FF2B5EF4-FFF2-40B4-BE49-F238E27FC236}">
                    <a16:creationId xmlns:a16="http://schemas.microsoft.com/office/drawing/2014/main" id="{7AA7F44D-019E-53CD-5267-CFC1CE9DDBAE}"/>
                  </a:ext>
                </a:extLst>
              </p:cNvPr>
              <p:cNvPicPr>
                <a:picLocks noChangeAspect="1"/>
              </p:cNvPicPr>
              <p:nvPr/>
            </p:nvPicPr>
            <p:blipFill rotWithShape="1">
              <a:blip r:embed="rId23"/>
              <a:srcRect l="3370" t="5627" r="5552"/>
              <a:stretch/>
            </p:blipFill>
            <p:spPr>
              <a:xfrm>
                <a:off x="14314595" y="12268708"/>
                <a:ext cx="11509192" cy="6421502"/>
              </a:xfrm>
              <a:prstGeom prst="rect">
                <a:avLst/>
              </a:prstGeom>
            </p:spPr>
          </p:pic>
          <p:sp>
            <p:nvSpPr>
              <p:cNvPr id="30" name="Textfeld 29">
                <a:extLst>
                  <a:ext uri="{FF2B5EF4-FFF2-40B4-BE49-F238E27FC236}">
                    <a16:creationId xmlns:a16="http://schemas.microsoft.com/office/drawing/2014/main" id="{C1821D35-F3A6-97C0-0528-A6870338A454}"/>
                  </a:ext>
                </a:extLst>
              </p:cNvPr>
              <p:cNvSpPr txBox="1"/>
              <p:nvPr/>
            </p:nvSpPr>
            <p:spPr>
              <a:xfrm>
                <a:off x="14749838" y="27598102"/>
                <a:ext cx="10717591" cy="1766626"/>
              </a:xfrm>
              <a:prstGeom prst="rect">
                <a:avLst/>
              </a:prstGeom>
              <a:noFill/>
            </p:spPr>
            <p:txBody>
              <a:bodyPr wrap="square" rtlCol="0">
                <a:spAutoFit/>
              </a:bodyPr>
              <a:lstStyle/>
              <a:p>
                <a:pPr algn="just"/>
                <a:r>
                  <a:rPr lang="de-DE" sz="1582" b="1" dirty="0">
                    <a:solidFill>
                      <a:schemeClr val="tx2"/>
                    </a:solidFill>
                    <a:latin typeface="Red Hat Display" panose="02010503040201060303"/>
                  </a:rPr>
                  <a:t>Figure 2 | a</a:t>
                </a:r>
                <a:r>
                  <a:rPr lang="de-DE" sz="1582" dirty="0">
                    <a:latin typeface="Red Hat Display" panose="02010503040201060303"/>
                  </a:rPr>
                  <a:t>, Scatterplot of</a:t>
                </a:r>
                <a:r>
                  <a:rPr lang="de-DE" sz="1582" b="1" dirty="0">
                    <a:solidFill>
                      <a:schemeClr val="tx2"/>
                    </a:solidFill>
                    <a:latin typeface="Red Hat Display" panose="02010503040201060303"/>
                  </a:rPr>
                  <a:t> ship logbook weather recordings in the North Atlantic</a:t>
                </a:r>
                <a:r>
                  <a:rPr lang="de-DE" sz="1582" dirty="0">
                    <a:latin typeface="Red Hat Display" panose="02010503040201060303"/>
                  </a:rPr>
                  <a:t>. Colors </a:t>
                </a:r>
                <a:r>
                  <a:rPr lang="de-DE" sz="1582" dirty="0" err="1">
                    <a:latin typeface="Red Hat Display" panose="02010503040201060303"/>
                  </a:rPr>
                  <a:t>indicate</a:t>
                </a:r>
                <a:r>
                  <a:rPr lang="de-DE" sz="1582" dirty="0">
                    <a:latin typeface="Red Hat Display" panose="02010503040201060303"/>
                  </a:rPr>
                  <a:t> </a:t>
                </a:r>
                <a:r>
                  <a:rPr lang="de-DE" sz="1582" dirty="0" err="1">
                    <a:latin typeface="Red Hat Display" panose="02010503040201060303"/>
                  </a:rPr>
                  <a:t>the</a:t>
                </a:r>
                <a:r>
                  <a:rPr lang="de-DE" sz="1582" dirty="0">
                    <a:latin typeface="Red Hat Display" panose="02010503040201060303"/>
                  </a:rPr>
                  <a:t> </a:t>
                </a:r>
                <a:r>
                  <a:rPr lang="de-DE" sz="1582" dirty="0" err="1">
                    <a:latin typeface="Red Hat Display" panose="02010503040201060303"/>
                  </a:rPr>
                  <a:t>season</a:t>
                </a:r>
                <a:r>
                  <a:rPr lang="de-DE" sz="1582" dirty="0">
                    <a:latin typeface="Red Hat Display" panose="02010503040201060303"/>
                  </a:rPr>
                  <a:t> </a:t>
                </a:r>
                <a:r>
                  <a:rPr lang="de-DE" sz="1582" dirty="0" err="1">
                    <a:latin typeface="Red Hat Display" panose="02010503040201060303"/>
                  </a:rPr>
                  <a:t>the</a:t>
                </a:r>
                <a:r>
                  <a:rPr lang="de-DE" sz="1582" dirty="0">
                    <a:latin typeface="Red Hat Display" panose="02010503040201060303"/>
                  </a:rPr>
                  <a:t> </a:t>
                </a:r>
                <a:r>
                  <a:rPr lang="de-DE" sz="1582" dirty="0" err="1">
                    <a:latin typeface="Red Hat Display" panose="02010503040201060303"/>
                  </a:rPr>
                  <a:t>data</a:t>
                </a:r>
                <a:r>
                  <a:rPr lang="de-DE" sz="1582" dirty="0">
                    <a:latin typeface="Red Hat Display" panose="02010503040201060303"/>
                  </a:rPr>
                  <a:t> was </a:t>
                </a:r>
                <a:r>
                  <a:rPr lang="de-DE" sz="1582" dirty="0" err="1">
                    <a:latin typeface="Red Hat Display" panose="02010503040201060303"/>
                  </a:rPr>
                  <a:t>observed</a:t>
                </a:r>
                <a:r>
                  <a:rPr lang="de-DE" sz="1582" dirty="0">
                    <a:latin typeface="Red Hat Display" panose="02010503040201060303"/>
                  </a:rPr>
                  <a:t>. </a:t>
                </a:r>
                <a:r>
                  <a:rPr lang="de-DE" sz="1582" b="1" dirty="0">
                    <a:solidFill>
                      <a:schemeClr val="tx2"/>
                    </a:solidFill>
                    <a:latin typeface="Red Hat Display" panose="02010503040201060303"/>
                  </a:rPr>
                  <a:t>b</a:t>
                </a:r>
                <a:r>
                  <a:rPr lang="de-DE" sz="1582" dirty="0">
                    <a:latin typeface="Red Hat Display" panose="02010503040201060303"/>
                  </a:rPr>
                  <a:t>, </a:t>
                </a:r>
                <a:r>
                  <a:rPr lang="de-DE" sz="1582" dirty="0" err="1">
                    <a:latin typeface="Red Hat Display" panose="02010503040201060303"/>
                  </a:rPr>
                  <a:t>Histogram</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of</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the</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observed</a:t>
                </a:r>
                <a:r>
                  <a:rPr lang="de-DE" sz="1582" b="1" dirty="0">
                    <a:solidFill>
                      <a:schemeClr val="tx2"/>
                    </a:solidFill>
                    <a:latin typeface="Red Hat Display" panose="02010503040201060303"/>
                  </a:rPr>
                  <a:t> wind </a:t>
                </a:r>
                <a:r>
                  <a:rPr lang="de-DE" sz="1582" b="1" dirty="0" err="1">
                    <a:solidFill>
                      <a:schemeClr val="tx2"/>
                    </a:solidFill>
                    <a:latin typeface="Red Hat Display" panose="02010503040201060303"/>
                  </a:rPr>
                  <a:t>speed</a:t>
                </a:r>
                <a:r>
                  <a:rPr lang="de-DE" sz="1582" dirty="0">
                    <a:latin typeface="Red Hat Display" panose="02010503040201060303"/>
                  </a:rPr>
                  <a:t>. The y-</a:t>
                </a:r>
                <a:r>
                  <a:rPr lang="de-DE" sz="1582" dirty="0" err="1">
                    <a:latin typeface="Red Hat Display" panose="02010503040201060303"/>
                  </a:rPr>
                  <a:t>axis</a:t>
                </a:r>
                <a:r>
                  <a:rPr lang="de-DE" sz="1582" dirty="0">
                    <a:latin typeface="Red Hat Display" panose="02010503040201060303"/>
                  </a:rPr>
                  <a:t> </a:t>
                </a:r>
                <a:r>
                  <a:rPr lang="de-DE" sz="1582" dirty="0" err="1">
                    <a:latin typeface="Red Hat Display" panose="02010503040201060303"/>
                  </a:rPr>
                  <a:t>shows</a:t>
                </a:r>
                <a:r>
                  <a:rPr lang="de-DE" sz="1582" dirty="0">
                    <a:latin typeface="Red Hat Display" panose="02010503040201060303"/>
                  </a:rPr>
                  <a:t> </a:t>
                </a:r>
                <a:r>
                  <a:rPr lang="de-DE" sz="1582" dirty="0" err="1">
                    <a:latin typeface="Red Hat Display" panose="02010503040201060303"/>
                  </a:rPr>
                  <a:t>the</a:t>
                </a:r>
                <a:r>
                  <a:rPr lang="de-DE" sz="1582" dirty="0">
                    <a:latin typeface="Red Hat Display" panose="02010503040201060303"/>
                  </a:rPr>
                  <a:t> </a:t>
                </a:r>
                <a:r>
                  <a:rPr lang="de-DE" sz="1582" dirty="0" err="1">
                    <a:latin typeface="Red Hat Display" panose="02010503040201060303"/>
                  </a:rPr>
                  <a:t>amount</a:t>
                </a:r>
                <a:r>
                  <a:rPr lang="de-DE" sz="1582" dirty="0">
                    <a:latin typeface="Red Hat Display" panose="02010503040201060303"/>
                  </a:rPr>
                  <a:t> in </a:t>
                </a:r>
                <a:r>
                  <a:rPr lang="de-DE" sz="1582" dirty="0" err="1">
                    <a:latin typeface="Red Hat Display" panose="02010503040201060303"/>
                  </a:rPr>
                  <a:t>percent</a:t>
                </a:r>
                <a:r>
                  <a:rPr lang="de-DE" sz="1582" dirty="0">
                    <a:latin typeface="Red Hat Display" panose="02010503040201060303"/>
                  </a:rPr>
                  <a:t>, </a:t>
                </a:r>
                <a:r>
                  <a:rPr lang="de-DE" sz="1582" dirty="0" err="1">
                    <a:latin typeface="Red Hat Display" panose="02010503040201060303"/>
                  </a:rPr>
                  <a:t>colors</a:t>
                </a:r>
                <a:r>
                  <a:rPr lang="de-DE" sz="1582" dirty="0">
                    <a:latin typeface="Red Hat Display" panose="02010503040201060303"/>
                  </a:rPr>
                  <a:t> </a:t>
                </a:r>
                <a:r>
                  <a:rPr lang="de-DE" sz="1582" dirty="0" err="1">
                    <a:latin typeface="Red Hat Display" panose="02010503040201060303"/>
                  </a:rPr>
                  <a:t>indicate</a:t>
                </a:r>
                <a:r>
                  <a:rPr lang="de-DE" sz="1582" dirty="0">
                    <a:latin typeface="Red Hat Display" panose="02010503040201060303"/>
                  </a:rPr>
                  <a:t> </a:t>
                </a:r>
                <a:r>
                  <a:rPr lang="de-DE" sz="1582" dirty="0" err="1">
                    <a:latin typeface="Red Hat Display" panose="02010503040201060303"/>
                  </a:rPr>
                  <a:t>the</a:t>
                </a:r>
                <a:r>
                  <a:rPr lang="de-DE" sz="1582" dirty="0">
                    <a:latin typeface="Red Hat Display" panose="02010503040201060303"/>
                  </a:rPr>
                  <a:t> same </a:t>
                </a:r>
                <a:r>
                  <a:rPr lang="de-DE" sz="1582" dirty="0" err="1">
                    <a:latin typeface="Red Hat Display" panose="02010503040201060303"/>
                  </a:rPr>
                  <a:t>as</a:t>
                </a:r>
                <a:r>
                  <a:rPr lang="de-DE" sz="1582" dirty="0">
                    <a:latin typeface="Red Hat Display" panose="02010503040201060303"/>
                  </a:rPr>
                  <a:t> in a. </a:t>
                </a:r>
                <a:r>
                  <a:rPr lang="de-DE" sz="1582" b="1" dirty="0">
                    <a:solidFill>
                      <a:schemeClr val="tx2"/>
                    </a:solidFill>
                    <a:latin typeface="Red Hat Display" panose="02010503040201060303"/>
                  </a:rPr>
                  <a:t>c</a:t>
                </a:r>
                <a:r>
                  <a:rPr lang="de-DE" sz="1582" dirty="0">
                    <a:latin typeface="Red Hat Display" panose="02010503040201060303"/>
                  </a:rPr>
                  <a:t>, </a:t>
                </a:r>
                <a:r>
                  <a:rPr lang="de-DE" sz="1582" dirty="0" err="1">
                    <a:latin typeface="Red Hat Display" panose="02010503040201060303"/>
                  </a:rPr>
                  <a:t>Histogram</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of</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the</a:t>
                </a:r>
                <a:r>
                  <a:rPr lang="de-DE" sz="1582" b="1" dirty="0">
                    <a:solidFill>
                      <a:schemeClr val="tx2"/>
                    </a:solidFill>
                    <a:latin typeface="Red Hat Display" panose="02010503040201060303"/>
                  </a:rPr>
                  <a:t> wind </a:t>
                </a:r>
                <a:r>
                  <a:rPr lang="de-DE" sz="1582" b="1" dirty="0" err="1">
                    <a:solidFill>
                      <a:schemeClr val="tx2"/>
                    </a:solidFill>
                    <a:latin typeface="Red Hat Display" panose="02010503040201060303"/>
                  </a:rPr>
                  <a:t>speeds</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obtained</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from</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the</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monthly</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mean</a:t>
                </a:r>
                <a:r>
                  <a:rPr lang="de-DE" sz="1582" b="1" dirty="0">
                    <a:solidFill>
                      <a:schemeClr val="tx2"/>
                    </a:solidFill>
                    <a:latin typeface="Red Hat Display" panose="02010503040201060303"/>
                  </a:rPr>
                  <a:t> </a:t>
                </a:r>
                <a:r>
                  <a:rPr lang="de-DE" sz="1582" b="1" dirty="0" err="1">
                    <a:solidFill>
                      <a:schemeClr val="tx2"/>
                    </a:solidFill>
                    <a:latin typeface="Red Hat Display" panose="02010503040201060303"/>
                  </a:rPr>
                  <a:t>ensemble</a:t>
                </a:r>
                <a:r>
                  <a:rPr lang="de-DE" sz="1582" b="1" dirty="0">
                    <a:solidFill>
                      <a:schemeClr val="tx2"/>
                    </a:solidFill>
                    <a:latin typeface="Red Hat Display" panose="02010503040201060303"/>
                  </a:rPr>
                  <a:t> </a:t>
                </a:r>
                <a:r>
                  <a:rPr lang="en-GB" sz="1582" kern="100" dirty="0">
                    <a:latin typeface="Red Hat Display" panose="02010503040201060303"/>
                    <a:ea typeface="Calibri" panose="020F0502020204030204" pitchFamily="34" charset="0"/>
                    <a:cs typeface="Times New Roman" panose="02020603050405020304" pitchFamily="18" charset="0"/>
                  </a:rPr>
                  <a:t>NOAA/CIRES/DOE 20th Century Reanalysis (V3)</a:t>
                </a:r>
                <a:r>
                  <a:rPr lang="en-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data</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Axes</a:t>
                </a:r>
                <a:r>
                  <a:rPr lang="de-DE" sz="1582" kern="100" dirty="0">
                    <a:latin typeface="Red Hat Display" panose="02010503040201060303"/>
                    <a:ea typeface="Calibri" panose="020F0502020204030204" pitchFamily="34" charset="0"/>
                    <a:cs typeface="Times New Roman" panose="02020603050405020304" pitchFamily="18" charset="0"/>
                  </a:rPr>
                  <a:t> and </a:t>
                </a:r>
                <a:r>
                  <a:rPr lang="de-DE" sz="1582" kern="100" dirty="0" err="1">
                    <a:latin typeface="Red Hat Display" panose="02010503040201060303"/>
                    <a:ea typeface="Calibri" panose="020F0502020204030204" pitchFamily="34" charset="0"/>
                    <a:cs typeface="Times New Roman" panose="02020603050405020304" pitchFamily="18" charset="0"/>
                  </a:rPr>
                  <a:t>colors</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are</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the</a:t>
                </a:r>
                <a:r>
                  <a:rPr lang="de-DE" sz="1582" kern="100" dirty="0">
                    <a:latin typeface="Red Hat Display" panose="02010503040201060303"/>
                    <a:ea typeface="Calibri" panose="020F0502020204030204" pitchFamily="34" charset="0"/>
                    <a:cs typeface="Times New Roman" panose="02020603050405020304" pitchFamily="18" charset="0"/>
                  </a:rPr>
                  <a:t> same </a:t>
                </a:r>
                <a:r>
                  <a:rPr lang="de-DE" sz="1582" kern="100" dirty="0" err="1">
                    <a:latin typeface="Red Hat Display" panose="02010503040201060303"/>
                    <a:ea typeface="Calibri" panose="020F0502020204030204" pitchFamily="34" charset="0"/>
                    <a:cs typeface="Times New Roman" panose="02020603050405020304" pitchFamily="18" charset="0"/>
                  </a:rPr>
                  <a:t>as</a:t>
                </a:r>
                <a:r>
                  <a:rPr lang="de-DE" sz="1582" kern="100" dirty="0">
                    <a:latin typeface="Red Hat Display" panose="02010503040201060303"/>
                    <a:ea typeface="Calibri" panose="020F0502020204030204" pitchFamily="34" charset="0"/>
                    <a:cs typeface="Times New Roman" panose="02020603050405020304" pitchFamily="18" charset="0"/>
                  </a:rPr>
                  <a:t> in b. </a:t>
                </a:r>
                <a:r>
                  <a:rPr lang="de-DE" sz="1582" b="1" kern="100" dirty="0">
                    <a:solidFill>
                      <a:schemeClr val="tx2"/>
                    </a:solidFill>
                    <a:latin typeface="Red Hat Display" panose="02010503040201060303"/>
                    <a:ea typeface="Calibri" panose="020F0502020204030204" pitchFamily="34" charset="0"/>
                    <a:cs typeface="Times New Roman" panose="02020603050405020304" pitchFamily="18" charset="0"/>
                  </a:rPr>
                  <a:t>d</a:t>
                </a:r>
                <a:r>
                  <a:rPr lang="de-DE" sz="1582" kern="100" dirty="0">
                    <a:latin typeface="Red Hat Display" panose="02010503040201060303"/>
                    <a:ea typeface="Calibri" panose="020F0502020204030204" pitchFamily="34" charset="0"/>
                    <a:cs typeface="Times New Roman" panose="02020603050405020304" pitchFamily="18" charset="0"/>
                  </a:rPr>
                  <a:t>, Box and Whisker </a:t>
                </a:r>
                <a:r>
                  <a:rPr lang="de-DE" sz="1582" kern="100" dirty="0" err="1">
                    <a:latin typeface="Red Hat Display" panose="02010503040201060303"/>
                    <a:ea typeface="Calibri" panose="020F0502020204030204" pitchFamily="34" charset="0"/>
                    <a:cs typeface="Times New Roman" panose="02020603050405020304" pitchFamily="18" charset="0"/>
                  </a:rPr>
                  <a:t>plots</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b="1" kern="100" dirty="0" err="1">
                    <a:solidFill>
                      <a:schemeClr val="tx2"/>
                    </a:solidFill>
                    <a:latin typeface="Red Hat Display" panose="02010503040201060303"/>
                    <a:ea typeface="Calibri" panose="020F0502020204030204" pitchFamily="34" charset="0"/>
                    <a:cs typeface="Times New Roman" panose="02020603050405020304" pitchFamily="18" charset="0"/>
                  </a:rPr>
                  <a:t>of</a:t>
                </a:r>
                <a:r>
                  <a:rPr lang="de-DE" sz="1582" b="1" kern="100" dirty="0">
                    <a:solidFill>
                      <a:schemeClr val="tx2"/>
                    </a:solidFill>
                    <a:latin typeface="Red Hat Display" panose="02010503040201060303"/>
                    <a:ea typeface="Calibri" panose="020F0502020204030204" pitchFamily="34" charset="0"/>
                    <a:cs typeface="Times New Roman" panose="02020603050405020304" pitchFamily="18" charset="0"/>
                  </a:rPr>
                  <a:t> </a:t>
                </a:r>
                <a:r>
                  <a:rPr lang="de-DE" sz="1582" b="1" kern="100" dirty="0" err="1">
                    <a:solidFill>
                      <a:schemeClr val="tx2"/>
                    </a:solidFill>
                    <a:latin typeface="Red Hat Display" panose="02010503040201060303"/>
                    <a:ea typeface="Calibri" panose="020F0502020204030204" pitchFamily="34" charset="0"/>
                    <a:cs typeface="Times New Roman" panose="02020603050405020304" pitchFamily="18" charset="0"/>
                  </a:rPr>
                  <a:t>the</a:t>
                </a:r>
                <a:r>
                  <a:rPr lang="de-DE" sz="1582" b="1" kern="100" dirty="0">
                    <a:solidFill>
                      <a:schemeClr val="tx2"/>
                    </a:solidFill>
                    <a:latin typeface="Red Hat Display" panose="02010503040201060303"/>
                    <a:ea typeface="Calibri" panose="020F0502020204030204" pitchFamily="34" charset="0"/>
                    <a:cs typeface="Times New Roman" panose="02020603050405020304" pitchFamily="18" charset="0"/>
                  </a:rPr>
                  <a:t> </a:t>
                </a:r>
                <a:r>
                  <a:rPr lang="de-DE" sz="1582" b="1" kern="100" dirty="0" err="1">
                    <a:solidFill>
                      <a:schemeClr val="tx2"/>
                    </a:solidFill>
                    <a:latin typeface="Red Hat Display" panose="02010503040201060303"/>
                    <a:ea typeface="Calibri" panose="020F0502020204030204" pitchFamily="34" charset="0"/>
                    <a:cs typeface="Times New Roman" panose="02020603050405020304" pitchFamily="18" charset="0"/>
                  </a:rPr>
                  <a:t>windspeeds</a:t>
                </a:r>
                <a:r>
                  <a:rPr lang="de-DE" sz="1582" b="1" kern="100" dirty="0">
                    <a:solidFill>
                      <a:schemeClr val="tx2"/>
                    </a:solidFill>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obtained</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from</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the</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logbook</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data</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indicated</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by</a:t>
                </a:r>
                <a:r>
                  <a:rPr lang="de-DE" sz="1582" kern="100" dirty="0">
                    <a:latin typeface="Red Hat Display" panose="02010503040201060303"/>
                    <a:ea typeface="Calibri" panose="020F0502020204030204" pitchFamily="34" charset="0"/>
                    <a:cs typeface="Times New Roman" panose="02020603050405020304" pitchFamily="18" charset="0"/>
                  </a:rPr>
                  <a:t> an w) and </a:t>
                </a:r>
                <a:r>
                  <a:rPr lang="de-DE" sz="1582" kern="100" dirty="0" err="1">
                    <a:latin typeface="Red Hat Display" panose="02010503040201060303"/>
                    <a:ea typeface="Calibri" panose="020F0502020204030204" pitchFamily="34" charset="0"/>
                    <a:cs typeface="Times New Roman" panose="02020603050405020304" pitchFamily="18" charset="0"/>
                  </a:rPr>
                  <a:t>model</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data</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indicated</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by</a:t>
                </a:r>
                <a:r>
                  <a:rPr lang="de-DE" sz="1582" kern="100" dirty="0">
                    <a:latin typeface="Red Hat Display" panose="02010503040201060303"/>
                    <a:ea typeface="Calibri" panose="020F0502020204030204" pitchFamily="34" charset="0"/>
                    <a:cs typeface="Times New Roman" panose="02020603050405020304" pitchFamily="18" charset="0"/>
                  </a:rPr>
                  <a:t> an m) </a:t>
                </a:r>
                <a:r>
                  <a:rPr lang="de-DE" sz="1582" kern="100" dirty="0" err="1">
                    <a:latin typeface="Red Hat Display" panose="02010503040201060303"/>
                    <a:ea typeface="Calibri" panose="020F0502020204030204" pitchFamily="34" charset="0"/>
                    <a:cs typeface="Times New Roman" panose="02020603050405020304" pitchFamily="18" charset="0"/>
                  </a:rPr>
                  <a:t>sorted</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kern="100" dirty="0" err="1">
                    <a:latin typeface="Red Hat Display" panose="02010503040201060303"/>
                    <a:ea typeface="Calibri" panose="020F0502020204030204" pitchFamily="34" charset="0"/>
                    <a:cs typeface="Times New Roman" panose="02020603050405020304" pitchFamily="18" charset="0"/>
                  </a:rPr>
                  <a:t>by</a:t>
                </a:r>
                <a:r>
                  <a:rPr lang="de-DE" sz="1582" kern="100" dirty="0">
                    <a:latin typeface="Red Hat Display" panose="02010503040201060303"/>
                    <a:ea typeface="Calibri" panose="020F0502020204030204" pitchFamily="34" charset="0"/>
                    <a:cs typeface="Times New Roman" panose="02020603050405020304" pitchFamily="18" charset="0"/>
                  </a:rPr>
                  <a:t> </a:t>
                </a:r>
                <a:r>
                  <a:rPr lang="de-DE" sz="1582" b="1" kern="100" dirty="0" err="1">
                    <a:solidFill>
                      <a:schemeClr val="tx2"/>
                    </a:solidFill>
                    <a:latin typeface="Red Hat Display" panose="02010503040201060303"/>
                    <a:ea typeface="Calibri" panose="020F0502020204030204" pitchFamily="34" charset="0"/>
                    <a:cs typeface="Times New Roman" panose="02020603050405020304" pitchFamily="18" charset="0"/>
                  </a:rPr>
                  <a:t>season</a:t>
                </a:r>
                <a:r>
                  <a:rPr lang="de-DE" sz="1582" kern="100" dirty="0">
                    <a:latin typeface="Red Hat Display" panose="02010503040201060303"/>
                    <a:ea typeface="Calibri" panose="020F0502020204030204" pitchFamily="34" charset="0"/>
                    <a:cs typeface="Times New Roman" panose="02020603050405020304" pitchFamily="18" charset="0"/>
                  </a:rPr>
                  <a:t>. The number of data points by the whalers‘ is indicated by N.</a:t>
                </a:r>
                <a:endParaRPr lang="en-DE" sz="1582" dirty="0">
                  <a:latin typeface="Red Hat Display" panose="02010503040201060303"/>
                </a:endParaRPr>
              </a:p>
            </p:txBody>
          </p:sp>
          <p:grpSp>
            <p:nvGrpSpPr>
              <p:cNvPr id="49" name="Gruppieren 48">
                <a:extLst>
                  <a:ext uri="{FF2B5EF4-FFF2-40B4-BE49-F238E27FC236}">
                    <a16:creationId xmlns:a16="http://schemas.microsoft.com/office/drawing/2014/main" id="{FFB7720C-3997-9E27-16CB-3FC2FAAC1E5C}"/>
                  </a:ext>
                </a:extLst>
              </p:cNvPr>
              <p:cNvGrpSpPr/>
              <p:nvPr/>
            </p:nvGrpSpPr>
            <p:grpSpPr>
              <a:xfrm>
                <a:off x="15647194" y="27127512"/>
                <a:ext cx="6985896" cy="394432"/>
                <a:chOff x="15647194" y="25475686"/>
                <a:chExt cx="6985896" cy="394432"/>
              </a:xfrm>
            </p:grpSpPr>
            <p:sp>
              <p:nvSpPr>
                <p:cNvPr id="31" name="Textfeld 30">
                  <a:extLst>
                    <a:ext uri="{FF2B5EF4-FFF2-40B4-BE49-F238E27FC236}">
                      <a16:creationId xmlns:a16="http://schemas.microsoft.com/office/drawing/2014/main" id="{EF1C5CF1-BE1E-C144-8404-8495D9D38BA5}"/>
                    </a:ext>
                  </a:extLst>
                </p:cNvPr>
                <p:cNvSpPr txBox="1"/>
                <p:nvPr/>
              </p:nvSpPr>
              <p:spPr>
                <a:xfrm>
                  <a:off x="15647194" y="25488157"/>
                  <a:ext cx="838083" cy="381961"/>
                </a:xfrm>
                <a:prstGeom prst="rect">
                  <a:avLst/>
                </a:prstGeom>
                <a:noFill/>
              </p:spPr>
              <p:txBody>
                <a:bodyPr wrap="square" rtlCol="0">
                  <a:spAutoFit/>
                </a:bodyPr>
                <a:lstStyle/>
                <a:p>
                  <a:r>
                    <a:rPr lang="de-DE" sz="1582" dirty="0"/>
                    <a:t>N=780</a:t>
                  </a:r>
                  <a:endParaRPr lang="en-DE" sz="1582" dirty="0"/>
                </a:p>
              </p:txBody>
            </p:sp>
            <p:sp>
              <p:nvSpPr>
                <p:cNvPr id="32" name="Textfeld 31">
                  <a:extLst>
                    <a:ext uri="{FF2B5EF4-FFF2-40B4-BE49-F238E27FC236}">
                      <a16:creationId xmlns:a16="http://schemas.microsoft.com/office/drawing/2014/main" id="{99501E4B-79B5-0907-78E0-6E05A2828639}"/>
                    </a:ext>
                  </a:extLst>
                </p:cNvPr>
                <p:cNvSpPr txBox="1"/>
                <p:nvPr/>
              </p:nvSpPr>
              <p:spPr>
                <a:xfrm>
                  <a:off x="17610247" y="25482037"/>
                  <a:ext cx="988295" cy="381960"/>
                </a:xfrm>
                <a:prstGeom prst="rect">
                  <a:avLst/>
                </a:prstGeom>
                <a:noFill/>
              </p:spPr>
              <p:txBody>
                <a:bodyPr wrap="square" rtlCol="0">
                  <a:spAutoFit/>
                </a:bodyPr>
                <a:lstStyle/>
                <a:p>
                  <a:r>
                    <a:rPr lang="de-DE" sz="1582" dirty="0"/>
                    <a:t>N=2008</a:t>
                  </a:r>
                  <a:endParaRPr lang="en-DE" sz="1582" dirty="0"/>
                </a:p>
              </p:txBody>
            </p:sp>
            <p:sp>
              <p:nvSpPr>
                <p:cNvPr id="33" name="Textfeld 32">
                  <a:extLst>
                    <a:ext uri="{FF2B5EF4-FFF2-40B4-BE49-F238E27FC236}">
                      <a16:creationId xmlns:a16="http://schemas.microsoft.com/office/drawing/2014/main" id="{0D47506B-3583-BC0E-838F-50779A8F47A4}"/>
                    </a:ext>
                  </a:extLst>
                </p:cNvPr>
                <p:cNvSpPr txBox="1"/>
                <p:nvPr/>
              </p:nvSpPr>
              <p:spPr>
                <a:xfrm>
                  <a:off x="19694214" y="25482037"/>
                  <a:ext cx="1098124" cy="381960"/>
                </a:xfrm>
                <a:prstGeom prst="rect">
                  <a:avLst/>
                </a:prstGeom>
                <a:noFill/>
              </p:spPr>
              <p:txBody>
                <a:bodyPr wrap="square" rtlCol="0">
                  <a:spAutoFit/>
                </a:bodyPr>
                <a:lstStyle/>
                <a:p>
                  <a:r>
                    <a:rPr lang="de-DE" sz="1582" dirty="0"/>
                    <a:t>N=1615</a:t>
                  </a:r>
                  <a:endParaRPr lang="en-DE" sz="1582" dirty="0"/>
                </a:p>
              </p:txBody>
            </p:sp>
            <p:sp>
              <p:nvSpPr>
                <p:cNvPr id="37" name="Textfeld 36">
                  <a:extLst>
                    <a:ext uri="{FF2B5EF4-FFF2-40B4-BE49-F238E27FC236}">
                      <a16:creationId xmlns:a16="http://schemas.microsoft.com/office/drawing/2014/main" id="{91113BB5-B203-2D5F-A9B7-8E94861F6FBE}"/>
                    </a:ext>
                  </a:extLst>
                </p:cNvPr>
                <p:cNvSpPr txBox="1"/>
                <p:nvPr/>
              </p:nvSpPr>
              <p:spPr>
                <a:xfrm>
                  <a:off x="21795007" y="25475686"/>
                  <a:ext cx="838083" cy="381960"/>
                </a:xfrm>
                <a:prstGeom prst="rect">
                  <a:avLst/>
                </a:prstGeom>
                <a:noFill/>
              </p:spPr>
              <p:txBody>
                <a:bodyPr wrap="square" rtlCol="0">
                  <a:spAutoFit/>
                </a:bodyPr>
                <a:lstStyle/>
                <a:p>
                  <a:r>
                    <a:rPr lang="de-DE" sz="1582" dirty="0"/>
                    <a:t>N=429</a:t>
                  </a:r>
                  <a:endParaRPr lang="en-DE" sz="1582" dirty="0"/>
                </a:p>
              </p:txBody>
            </p:sp>
          </p:grpSp>
          <p:pic>
            <p:nvPicPr>
              <p:cNvPr id="48" name="Grafik 47">
                <a:extLst>
                  <a:ext uri="{FF2B5EF4-FFF2-40B4-BE49-F238E27FC236}">
                    <a16:creationId xmlns:a16="http://schemas.microsoft.com/office/drawing/2014/main" id="{3016086A-07E0-EBB7-2F9C-634927708432}"/>
                  </a:ext>
                </a:extLst>
              </p:cNvPr>
              <p:cNvPicPr>
                <a:picLocks noChangeAspect="1"/>
              </p:cNvPicPr>
              <p:nvPr/>
            </p:nvPicPr>
            <p:blipFill>
              <a:blip r:embed="rId24"/>
              <a:stretch>
                <a:fillRect/>
              </a:stretch>
            </p:blipFill>
            <p:spPr>
              <a:xfrm>
                <a:off x="14503350" y="18382441"/>
                <a:ext cx="10741992" cy="4938262"/>
              </a:xfrm>
              <a:prstGeom prst="rect">
                <a:avLst/>
              </a:prstGeom>
            </p:spPr>
          </p:pic>
          <p:sp>
            <p:nvSpPr>
              <p:cNvPr id="61" name="Textfeld 60">
                <a:extLst>
                  <a:ext uri="{FF2B5EF4-FFF2-40B4-BE49-F238E27FC236}">
                    <a16:creationId xmlns:a16="http://schemas.microsoft.com/office/drawing/2014/main" id="{A0FFE13B-B85F-942B-5B36-D660271D36B5}"/>
                  </a:ext>
                </a:extLst>
              </p:cNvPr>
              <p:cNvSpPr txBox="1"/>
              <p:nvPr/>
            </p:nvSpPr>
            <p:spPr>
              <a:xfrm>
                <a:off x="15135704" y="12487636"/>
                <a:ext cx="389408" cy="381960"/>
              </a:xfrm>
              <a:prstGeom prst="rect">
                <a:avLst/>
              </a:prstGeom>
              <a:noFill/>
            </p:spPr>
            <p:txBody>
              <a:bodyPr wrap="square" rtlCol="0">
                <a:spAutoFit/>
              </a:bodyPr>
              <a:lstStyle/>
              <a:p>
                <a:r>
                  <a:rPr lang="de-DE" sz="1582" b="1" dirty="0"/>
                  <a:t>a</a:t>
                </a:r>
                <a:endParaRPr lang="en-DE" sz="1582" b="1" dirty="0"/>
              </a:p>
            </p:txBody>
          </p:sp>
          <p:sp>
            <p:nvSpPr>
              <p:cNvPr id="64" name="Textfeld 63">
                <a:extLst>
                  <a:ext uri="{FF2B5EF4-FFF2-40B4-BE49-F238E27FC236}">
                    <a16:creationId xmlns:a16="http://schemas.microsoft.com/office/drawing/2014/main" id="{09A99014-D4F0-F578-9A13-2EEC3D34B6F3}"/>
                  </a:ext>
                </a:extLst>
              </p:cNvPr>
              <p:cNvSpPr txBox="1"/>
              <p:nvPr/>
            </p:nvSpPr>
            <p:spPr>
              <a:xfrm>
                <a:off x="15132461" y="18724471"/>
                <a:ext cx="389408" cy="381960"/>
              </a:xfrm>
              <a:prstGeom prst="rect">
                <a:avLst/>
              </a:prstGeom>
              <a:noFill/>
            </p:spPr>
            <p:txBody>
              <a:bodyPr wrap="square" rtlCol="0">
                <a:spAutoFit/>
              </a:bodyPr>
              <a:lstStyle/>
              <a:p>
                <a:r>
                  <a:rPr lang="de-DE" sz="1582" b="1" dirty="0"/>
                  <a:t>b</a:t>
                </a:r>
                <a:endParaRPr lang="en-DE" sz="1582" b="1" dirty="0"/>
              </a:p>
            </p:txBody>
          </p:sp>
          <p:sp>
            <p:nvSpPr>
              <p:cNvPr id="65" name="Textfeld 64">
                <a:extLst>
                  <a:ext uri="{FF2B5EF4-FFF2-40B4-BE49-F238E27FC236}">
                    <a16:creationId xmlns:a16="http://schemas.microsoft.com/office/drawing/2014/main" id="{13323F5C-7380-D900-BDA4-C6F761DDFD7A}"/>
                  </a:ext>
                </a:extLst>
              </p:cNvPr>
              <p:cNvSpPr txBox="1"/>
              <p:nvPr/>
            </p:nvSpPr>
            <p:spPr>
              <a:xfrm>
                <a:off x="20188901" y="18758683"/>
                <a:ext cx="389408" cy="381960"/>
              </a:xfrm>
              <a:prstGeom prst="rect">
                <a:avLst/>
              </a:prstGeom>
              <a:noFill/>
            </p:spPr>
            <p:txBody>
              <a:bodyPr wrap="square" rtlCol="0">
                <a:spAutoFit/>
              </a:bodyPr>
              <a:lstStyle/>
              <a:p>
                <a:r>
                  <a:rPr lang="de-DE" sz="1582" b="1" dirty="0"/>
                  <a:t>c</a:t>
                </a:r>
                <a:endParaRPr lang="en-DE" sz="1582" b="1" dirty="0"/>
              </a:p>
            </p:txBody>
          </p:sp>
        </p:grpSp>
        <p:pic>
          <p:nvPicPr>
            <p:cNvPr id="98" name="Grafik 97">
              <a:extLst>
                <a:ext uri="{FF2B5EF4-FFF2-40B4-BE49-F238E27FC236}">
                  <a16:creationId xmlns:a16="http://schemas.microsoft.com/office/drawing/2014/main" id="{2179EE86-C2AC-36EF-1E35-25BAB7D2B3D1}"/>
                </a:ext>
              </a:extLst>
            </p:cNvPr>
            <p:cNvPicPr>
              <a:picLocks noChangeAspect="1"/>
            </p:cNvPicPr>
            <p:nvPr/>
          </p:nvPicPr>
          <p:blipFill rotWithShape="1">
            <a:blip r:embed="rId25"/>
            <a:srcRect l="6594" r="4196"/>
            <a:stretch/>
          </p:blipFill>
          <p:spPr>
            <a:xfrm>
              <a:off x="14362155" y="20574000"/>
              <a:ext cx="8428380" cy="3374224"/>
            </a:xfrm>
            <a:prstGeom prst="rect">
              <a:avLst/>
            </a:prstGeom>
          </p:spPr>
        </p:pic>
        <p:sp>
          <p:nvSpPr>
            <p:cNvPr id="5" name="Textfeld 4">
              <a:extLst>
                <a:ext uri="{FF2B5EF4-FFF2-40B4-BE49-F238E27FC236}">
                  <a16:creationId xmlns:a16="http://schemas.microsoft.com/office/drawing/2014/main" id="{C15ED4B9-4F42-EFCC-8200-13289E2B7F8F}"/>
                </a:ext>
              </a:extLst>
            </p:cNvPr>
            <p:cNvSpPr txBox="1"/>
            <p:nvPr/>
          </p:nvSpPr>
          <p:spPr>
            <a:xfrm>
              <a:off x="14643916" y="20721715"/>
              <a:ext cx="342345" cy="335798"/>
            </a:xfrm>
            <a:prstGeom prst="rect">
              <a:avLst/>
            </a:prstGeom>
            <a:noFill/>
          </p:spPr>
          <p:txBody>
            <a:bodyPr wrap="square" rtlCol="0">
              <a:spAutoFit/>
            </a:bodyPr>
            <a:lstStyle/>
            <a:p>
              <a:r>
                <a:rPr lang="de-DE" sz="1582" b="1" dirty="0"/>
                <a:t>d</a:t>
              </a:r>
              <a:endParaRPr lang="en-DE" sz="1582" b="1" dirty="0"/>
            </a:p>
          </p:txBody>
        </p:sp>
      </p:grpSp>
    </p:spTree>
    <p:extLst>
      <p:ext uri="{BB962C8B-B14F-4D97-AF65-F5344CB8AC3E}">
        <p14:creationId xmlns:p14="http://schemas.microsoft.com/office/powerpoint/2010/main" val="34930419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1886</Words>
  <Application>Microsoft Office PowerPoint</Application>
  <PresentationFormat>Benutzerdefiniert</PresentationFormat>
  <Paragraphs>72</Paragraphs>
  <Slides>1</Slides>
  <Notes>1</Notes>
  <HiddenSlides>0</HiddenSlides>
  <MMClips>0</MMClips>
  <ScaleCrop>false</ScaleCrop>
  <HeadingPairs>
    <vt:vector size="8" baseType="variant">
      <vt:variant>
        <vt:lpstr>Verwendete Schriftarten</vt:lpstr>
      </vt:variant>
      <vt:variant>
        <vt:i4>5</vt:i4>
      </vt:variant>
      <vt:variant>
        <vt:lpstr>Design</vt:lpstr>
      </vt:variant>
      <vt:variant>
        <vt:i4>1</vt:i4>
      </vt:variant>
      <vt:variant>
        <vt:lpstr>Eingebettete OLE-Server</vt:lpstr>
      </vt:variant>
      <vt:variant>
        <vt:i4>1</vt:i4>
      </vt:variant>
      <vt:variant>
        <vt:lpstr>Folientitel</vt:lpstr>
      </vt:variant>
      <vt:variant>
        <vt:i4>1</vt:i4>
      </vt:variant>
    </vt:vector>
  </HeadingPairs>
  <TitlesOfParts>
    <vt:vector size="8" baseType="lpstr">
      <vt:lpstr>Arial</vt:lpstr>
      <vt:lpstr>Calibri</vt:lpstr>
      <vt:lpstr>Courier New</vt:lpstr>
      <vt:lpstr>Red Hat Display</vt:lpstr>
      <vt:lpstr>Wingdings</vt:lpstr>
      <vt:lpstr>Office Theme</vt:lpstr>
      <vt:lpstr>think-cell Slide</vt:lpstr>
      <vt:lpstr>PowerPoint-Präsentation</vt:lpstr>
    </vt:vector>
  </TitlesOfParts>
  <Company>WHOI</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herine Joyce</dc:creator>
  <cp:lastModifiedBy>Neele Sander</cp:lastModifiedBy>
  <cp:revision>43</cp:revision>
  <cp:lastPrinted>2018-12-06T23:37:41Z</cp:lastPrinted>
  <dcterms:created xsi:type="dcterms:W3CDTF">2012-04-25T16:44:56Z</dcterms:created>
  <dcterms:modified xsi:type="dcterms:W3CDTF">2023-04-18T17:42:45Z</dcterms:modified>
</cp:coreProperties>
</file>